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2" r:id="rId4"/>
    <p:sldMasterId id="2147483660" r:id="rId5"/>
  </p:sldMasterIdLst>
  <p:notesMasterIdLst>
    <p:notesMasterId r:id="rId18"/>
  </p:notesMasterIdLst>
  <p:handoutMasterIdLst>
    <p:handoutMasterId r:id="rId19"/>
  </p:handoutMasterIdLst>
  <p:sldIdLst>
    <p:sldId id="2147471623" r:id="rId6"/>
    <p:sldId id="2147471619" r:id="rId7"/>
    <p:sldId id="2147471626" r:id="rId8"/>
    <p:sldId id="2147471627" r:id="rId9"/>
    <p:sldId id="2147471624" r:id="rId10"/>
    <p:sldId id="2147471630" r:id="rId11"/>
    <p:sldId id="2147471631" r:id="rId12"/>
    <p:sldId id="2147471632" r:id="rId13"/>
    <p:sldId id="2147471625" r:id="rId14"/>
    <p:sldId id="2147471629" r:id="rId15"/>
    <p:sldId id="2147471621" r:id="rId16"/>
    <p:sldId id="2147471620" r:id="rId17"/>
  </p:sldIdLst>
  <p:sldSz cx="12192000" cy="6858000"/>
  <p:notesSz cx="7010400" cy="9296400"/>
  <p:defaultTextStyle>
    <a:defPPr>
      <a:defRPr lang="en-US"/>
    </a:defPPr>
    <a:lvl1pPr marL="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ogram Updates" id="{35269195-3FC2-8746-9907-2531F9FA2975}">
          <p14:sldIdLst>
            <p14:sldId id="2147471623"/>
            <p14:sldId id="2147471619"/>
            <p14:sldId id="2147471626"/>
            <p14:sldId id="2147471627"/>
            <p14:sldId id="2147471624"/>
            <p14:sldId id="2147471630"/>
            <p14:sldId id="2147471631"/>
            <p14:sldId id="2147471632"/>
            <p14:sldId id="2147471625"/>
            <p14:sldId id="2147471629"/>
          </p14:sldIdLst>
        </p14:section>
        <p14:section name="Appendix" id="{975782CB-9832-478C-8AFA-278DDB482AD1}">
          <p14:sldIdLst>
            <p14:sldId id="2147471621"/>
            <p14:sldId id="214747162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33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70F5204-07F3-CF35-7EF1-D8B1907CD4C8}" name="Prabhakaran, Praveen (CCI-Atlanta)" initials="P(" userId="S::praveen.prabhakaran@cox.com::7d888ac5-300c-4679-82d5-157e6386ea4a" providerId="AD"/>
  <p188:author id="{425ED765-A803-93D7-D883-DB2AC28F4656}" name="Patel, Adarsh (CCI-Atlanta)" initials="AP" userId="S::Adarsh.Patel@cox.com::7af17255-eb35-4745-8cd0-1872a692d2c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eve Wishman" initials="SW" lastIdx="1" clrIdx="0">
    <p:extLst>
      <p:ext uri="{19B8F6BF-5375-455C-9EA6-DF929625EA0E}">
        <p15:presenceInfo xmlns:p15="http://schemas.microsoft.com/office/powerpoint/2012/main" userId="Steve Wishman" providerId="None"/>
      </p:ext>
    </p:extLst>
  </p:cmAuthor>
  <p:cmAuthor id="2" name="Fakhraee, Farrah (CCI-Atlanta)" initials="F(" lastIdx="25" clrIdx="1">
    <p:extLst>
      <p:ext uri="{19B8F6BF-5375-455C-9EA6-DF929625EA0E}">
        <p15:presenceInfo xmlns:p15="http://schemas.microsoft.com/office/powerpoint/2012/main" userId="S::farrah.fakhraee@cox.com::be1abb38-cabf-4804-aa7b-b791bed419d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AE0"/>
    <a:srgbClr val="FFFFFF"/>
    <a:srgbClr val="FAFAFA"/>
    <a:srgbClr val="00A846"/>
    <a:srgbClr val="3DC353"/>
    <a:srgbClr val="FFE181"/>
    <a:srgbClr val="FFCC99"/>
    <a:srgbClr val="FEB4A0"/>
    <a:srgbClr val="B6E8BE"/>
    <a:srgbClr val="9191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361" autoAdjust="0"/>
    <p:restoredTop sz="96301" autoAdjust="0"/>
  </p:normalViewPr>
  <p:slideViewPr>
    <p:cSldViewPr snapToGrid="0">
      <p:cViewPr varScale="1">
        <p:scale>
          <a:sx n="83" d="100"/>
          <a:sy n="83" d="100"/>
        </p:scale>
        <p:origin x="1128" y="82"/>
      </p:cViewPr>
      <p:guideLst>
        <p:guide orient="horz" pos="2160"/>
        <p:guide pos="3840"/>
        <p:guide pos="33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5808" y="175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rabhakaran, Praveen (CCI-Atlanta)" userId="7d888ac5-300c-4679-82d5-157e6386ea4a" providerId="ADAL" clId="{3B3508EF-EC6E-5347-AEB9-11B3ED16EFC9}"/>
    <pc:docChg chg="custSel delSld modSld delSection modSection">
      <pc:chgData name="Prabhakaran, Praveen (CCI-Atlanta)" userId="7d888ac5-300c-4679-82d5-157e6386ea4a" providerId="ADAL" clId="{3B3508EF-EC6E-5347-AEB9-11B3ED16EFC9}" dt="2024-08-07T21:21:13.031" v="15" actId="20577"/>
      <pc:docMkLst>
        <pc:docMk/>
      </pc:docMkLst>
      <pc:sldChg chg="delSp del mod">
        <pc:chgData name="Prabhakaran, Praveen (CCI-Atlanta)" userId="7d888ac5-300c-4679-82d5-157e6386ea4a" providerId="ADAL" clId="{3B3508EF-EC6E-5347-AEB9-11B3ED16EFC9}" dt="2024-08-07T21:20:29.717" v="5" actId="2696"/>
        <pc:sldMkLst>
          <pc:docMk/>
          <pc:sldMk cId="3255402634" sldId="2147471615"/>
        </pc:sldMkLst>
        <pc:spChg chg="del">
          <ac:chgData name="Prabhakaran, Praveen (CCI-Atlanta)" userId="7d888ac5-300c-4679-82d5-157e6386ea4a" providerId="ADAL" clId="{3B3508EF-EC6E-5347-AEB9-11B3ED16EFC9}" dt="2024-08-07T21:20:17.425" v="4" actId="478"/>
          <ac:spMkLst>
            <pc:docMk/>
            <pc:sldMk cId="3255402634" sldId="2147471615"/>
            <ac:spMk id="9" creationId="{BAE56A41-B89A-60E4-7FC0-F41D3E56C582}"/>
          </ac:spMkLst>
        </pc:spChg>
      </pc:sldChg>
      <pc:sldChg chg="modSp mod">
        <pc:chgData name="Prabhakaran, Praveen (CCI-Atlanta)" userId="7d888ac5-300c-4679-82d5-157e6386ea4a" providerId="ADAL" clId="{3B3508EF-EC6E-5347-AEB9-11B3ED16EFC9}" dt="2024-08-07T21:21:13.031" v="15" actId="20577"/>
        <pc:sldMkLst>
          <pc:docMk/>
          <pc:sldMk cId="4031652088" sldId="2147471619"/>
        </pc:sldMkLst>
        <pc:spChg chg="mod">
          <ac:chgData name="Prabhakaran, Praveen (CCI-Atlanta)" userId="7d888ac5-300c-4679-82d5-157e6386ea4a" providerId="ADAL" clId="{3B3508EF-EC6E-5347-AEB9-11B3ED16EFC9}" dt="2024-08-07T21:21:13.031" v="15" actId="20577"/>
          <ac:spMkLst>
            <pc:docMk/>
            <pc:sldMk cId="4031652088" sldId="2147471619"/>
            <ac:spMk id="14" creationId="{435D6244-2280-47DB-9006-77A98FCF90CC}"/>
          </ac:spMkLst>
        </pc:spChg>
      </pc:sldChg>
      <pc:sldChg chg="modSp mod">
        <pc:chgData name="Prabhakaran, Praveen (CCI-Atlanta)" userId="7d888ac5-300c-4679-82d5-157e6386ea4a" providerId="ADAL" clId="{3B3508EF-EC6E-5347-AEB9-11B3ED16EFC9}" dt="2024-08-06T15:21:50.251" v="3" actId="1076"/>
        <pc:sldMkLst>
          <pc:docMk/>
          <pc:sldMk cId="2557899830" sldId="2147471620"/>
        </pc:sldMkLst>
        <pc:spChg chg="mod">
          <ac:chgData name="Prabhakaran, Praveen (CCI-Atlanta)" userId="7d888ac5-300c-4679-82d5-157e6386ea4a" providerId="ADAL" clId="{3B3508EF-EC6E-5347-AEB9-11B3ED16EFC9}" dt="2024-08-06T15:21:42.884" v="1" actId="14100"/>
          <ac:spMkLst>
            <pc:docMk/>
            <pc:sldMk cId="2557899830" sldId="2147471620"/>
            <ac:spMk id="2" creationId="{5FCD20BF-6937-C158-87D5-D8164B05D636}"/>
          </ac:spMkLst>
        </pc:spChg>
        <pc:picChg chg="mod">
          <ac:chgData name="Prabhakaran, Praveen (CCI-Atlanta)" userId="7d888ac5-300c-4679-82d5-157e6386ea4a" providerId="ADAL" clId="{3B3508EF-EC6E-5347-AEB9-11B3ED16EFC9}" dt="2024-08-06T15:21:50.251" v="3" actId="1076"/>
          <ac:picMkLst>
            <pc:docMk/>
            <pc:sldMk cId="2557899830" sldId="2147471620"/>
            <ac:picMk id="11" creationId="{E34ABF21-CF21-7747-FE27-5A295126B2D6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72A4568-490B-4773-9325-6DC0D573623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21C877-104C-41FE-B0CC-8E34495890B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r">
              <a:defRPr sz="1200"/>
            </a:lvl1pPr>
          </a:lstStyle>
          <a:p>
            <a:fld id="{133A4081-A38B-4F77-8ADC-D0C91E8E4423}" type="datetimeFigureOut">
              <a:rPr lang="en-US" smtClean="0"/>
              <a:t>9/30/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61166-372A-4474-A2EF-C771746BF9C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03515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r">
              <a:defRPr sz="1200"/>
            </a:lvl1pPr>
          </a:lstStyle>
          <a:p>
            <a:fld id="{D7FD4F0E-FBD7-0044-978C-3C81CA637440}" type="datetimeFigureOut">
              <a:rPr lang="en-US" smtClean="0"/>
              <a:t>9/30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5963" y="1162050"/>
            <a:ext cx="5578475" cy="31384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6" tIns="46588" rIns="93176" bIns="46588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6" tIns="46588" rIns="93176" bIns="4658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r">
              <a:defRPr sz="1200"/>
            </a:lvl1pPr>
          </a:lstStyle>
          <a:p>
            <a:fld id="{09AA5F6D-AE36-2045-8FBC-CC75880C59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15126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for Printing)">
    <p:bg bwMode="ltGray">
      <p:bgPr>
        <a:gradFill>
          <a:gsLst>
            <a:gs pos="32000">
              <a:srgbClr val="009AE0"/>
            </a:gs>
            <a:gs pos="52000">
              <a:srgbClr val="009AE0"/>
            </a:gs>
            <a:gs pos="100000">
              <a:srgbClr val="00A846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 userDrawn="1"/>
        </p:nvSpPr>
        <p:spPr bwMode="white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706FDC6-3AEF-4F15-8624-DF19A27FD1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387222" y="462622"/>
            <a:ext cx="1312590" cy="439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923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(Thre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6C341B-649D-4364-8D26-ECF442AABF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93776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3405A70D-A303-4430-BFE3-179FEFFA329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08764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6A4C870-5FB0-40F9-ACBF-B314B714AE1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123752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9AF46D-EC8C-4799-8268-F914B66AC1F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/>
              <a:t>CCI Proprietary and Confidentia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B314EC2-65A0-48A9-A282-73C1FA228D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Weighte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34EAD72-0448-4B6F-86F3-D9B838B95CE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93711" y="1756791"/>
            <a:ext cx="3229589" cy="443204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7" y="642889"/>
            <a:ext cx="320815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EFA500-6C5D-4551-968A-183AAA0CDC6F}"/>
              </a:ext>
            </a:extLst>
          </p:cNvPr>
          <p:cNvCxnSpPr>
            <a:cxnSpLocks/>
          </p:cNvCxnSpPr>
          <p:nvPr userDrawn="1"/>
        </p:nvCxnSpPr>
        <p:spPr>
          <a:xfrm>
            <a:off x="4308764" y="669163"/>
            <a:ext cx="0" cy="5155563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105E3F98-F8EB-4010-96E1-2DC856BD43CB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029200" y="1322388"/>
            <a:ext cx="6669088" cy="45021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A4781-F335-4997-B2A3-D4ECEB624912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 dirty="0"/>
              <a:t>CCI Proprietary and Confidentia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9F99AE6-DDD6-49D1-8CA7-3B040BD0F32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1454335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(Single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8D749E-10F3-468F-A695-20684D44BAB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ltGray">
          <a:xfrm>
            <a:off x="1" y="0"/>
            <a:ext cx="10037025" cy="6858000"/>
          </a:xfrm>
          <a:custGeom>
            <a:avLst/>
            <a:gdLst>
              <a:gd name="connsiteX0" fmla="*/ 0 w 10037025"/>
              <a:gd name="connsiteY0" fmla="*/ 0 h 6858000"/>
              <a:gd name="connsiteX1" fmla="*/ 2237 w 10037025"/>
              <a:gd name="connsiteY1" fmla="*/ 0 h 6858000"/>
              <a:gd name="connsiteX2" fmla="*/ 17892 w 10037025"/>
              <a:gd name="connsiteY2" fmla="*/ 0 h 6858000"/>
              <a:gd name="connsiteX3" fmla="*/ 60384 w 10037025"/>
              <a:gd name="connsiteY3" fmla="*/ 0 h 6858000"/>
              <a:gd name="connsiteX4" fmla="*/ 95887 w 10037025"/>
              <a:gd name="connsiteY4" fmla="*/ 0 h 6858000"/>
              <a:gd name="connsiteX5" fmla="*/ 143131 w 10037025"/>
              <a:gd name="connsiteY5" fmla="*/ 0 h 6858000"/>
              <a:gd name="connsiteX6" fmla="*/ 203794 w 10037025"/>
              <a:gd name="connsiteY6" fmla="*/ 0 h 6858000"/>
              <a:gd name="connsiteX7" fmla="*/ 279553 w 10037025"/>
              <a:gd name="connsiteY7" fmla="*/ 0 h 6858000"/>
              <a:gd name="connsiteX8" fmla="*/ 372085 w 10037025"/>
              <a:gd name="connsiteY8" fmla="*/ 0 h 6858000"/>
              <a:gd name="connsiteX9" fmla="*/ 483068 w 10037025"/>
              <a:gd name="connsiteY9" fmla="*/ 0 h 6858000"/>
              <a:gd name="connsiteX10" fmla="*/ 614178 w 10037025"/>
              <a:gd name="connsiteY10" fmla="*/ 0 h 6858000"/>
              <a:gd name="connsiteX11" fmla="*/ 767094 w 10037025"/>
              <a:gd name="connsiteY11" fmla="*/ 0 h 6858000"/>
              <a:gd name="connsiteX12" fmla="*/ 943492 w 10037025"/>
              <a:gd name="connsiteY12" fmla="*/ 0 h 6858000"/>
              <a:gd name="connsiteX13" fmla="*/ 1145050 w 10037025"/>
              <a:gd name="connsiteY13" fmla="*/ 0 h 6858000"/>
              <a:gd name="connsiteX14" fmla="*/ 1373445 w 10037025"/>
              <a:gd name="connsiteY14" fmla="*/ 0 h 6858000"/>
              <a:gd name="connsiteX15" fmla="*/ 1630354 w 10037025"/>
              <a:gd name="connsiteY15" fmla="*/ 0 h 6858000"/>
              <a:gd name="connsiteX16" fmla="*/ 1917455 w 10037025"/>
              <a:gd name="connsiteY16" fmla="*/ 0 h 6858000"/>
              <a:gd name="connsiteX17" fmla="*/ 2236425 w 10037025"/>
              <a:gd name="connsiteY17" fmla="*/ 0 h 6858000"/>
              <a:gd name="connsiteX18" fmla="*/ 2588941 w 10037025"/>
              <a:gd name="connsiteY18" fmla="*/ 0 h 6858000"/>
              <a:gd name="connsiteX19" fmla="*/ 2976682 w 10037025"/>
              <a:gd name="connsiteY19" fmla="*/ 0 h 6858000"/>
              <a:gd name="connsiteX20" fmla="*/ 3401323 w 10037025"/>
              <a:gd name="connsiteY20" fmla="*/ 0 h 6858000"/>
              <a:gd name="connsiteX21" fmla="*/ 3864542 w 10037025"/>
              <a:gd name="connsiteY21" fmla="*/ 0 h 6858000"/>
              <a:gd name="connsiteX22" fmla="*/ 4368018 w 10037025"/>
              <a:gd name="connsiteY22" fmla="*/ 0 h 6858000"/>
              <a:gd name="connsiteX23" fmla="*/ 4913426 w 10037025"/>
              <a:gd name="connsiteY23" fmla="*/ 0 h 6858000"/>
              <a:gd name="connsiteX24" fmla="*/ 5502444 w 10037025"/>
              <a:gd name="connsiteY24" fmla="*/ 0 h 6858000"/>
              <a:gd name="connsiteX25" fmla="*/ 6136750 w 10037025"/>
              <a:gd name="connsiteY25" fmla="*/ 0 h 6858000"/>
              <a:gd name="connsiteX26" fmla="*/ 6818021 w 10037025"/>
              <a:gd name="connsiteY26" fmla="*/ 0 h 6858000"/>
              <a:gd name="connsiteX27" fmla="*/ 7547934 w 10037025"/>
              <a:gd name="connsiteY27" fmla="*/ 0 h 6858000"/>
              <a:gd name="connsiteX28" fmla="*/ 8328167 w 10037025"/>
              <a:gd name="connsiteY28" fmla="*/ 0 h 6858000"/>
              <a:gd name="connsiteX29" fmla="*/ 8737677 w 10037025"/>
              <a:gd name="connsiteY29" fmla="*/ 0 h 6858000"/>
              <a:gd name="connsiteX30" fmla="*/ 9160396 w 10037025"/>
              <a:gd name="connsiteY30" fmla="*/ 0 h 6858000"/>
              <a:gd name="connsiteX31" fmla="*/ 10037025 w 10037025"/>
              <a:gd name="connsiteY31" fmla="*/ 3429000 h 6858000"/>
              <a:gd name="connsiteX32" fmla="*/ 9160396 w 10037025"/>
              <a:gd name="connsiteY32" fmla="*/ 6858000 h 6858000"/>
              <a:gd name="connsiteX33" fmla="*/ 9158160 w 10037025"/>
              <a:gd name="connsiteY33" fmla="*/ 6858000 h 6858000"/>
              <a:gd name="connsiteX34" fmla="*/ 9142505 w 10037025"/>
              <a:gd name="connsiteY34" fmla="*/ 6858000 h 6858000"/>
              <a:gd name="connsiteX35" fmla="*/ 9100012 w 10037025"/>
              <a:gd name="connsiteY35" fmla="*/ 6858000 h 6858000"/>
              <a:gd name="connsiteX36" fmla="*/ 9064509 w 10037025"/>
              <a:gd name="connsiteY36" fmla="*/ 6858000 h 6858000"/>
              <a:gd name="connsiteX37" fmla="*/ 9017265 w 10037025"/>
              <a:gd name="connsiteY37" fmla="*/ 6858000 h 6858000"/>
              <a:gd name="connsiteX38" fmla="*/ 8956602 w 10037025"/>
              <a:gd name="connsiteY38" fmla="*/ 6858000 h 6858000"/>
              <a:gd name="connsiteX39" fmla="*/ 8880843 w 10037025"/>
              <a:gd name="connsiteY39" fmla="*/ 6858000 h 6858000"/>
              <a:gd name="connsiteX40" fmla="*/ 8788311 w 10037025"/>
              <a:gd name="connsiteY40" fmla="*/ 6858000 h 6858000"/>
              <a:gd name="connsiteX41" fmla="*/ 8677328 w 10037025"/>
              <a:gd name="connsiteY41" fmla="*/ 6858000 h 6858000"/>
              <a:gd name="connsiteX42" fmla="*/ 8546218 w 10037025"/>
              <a:gd name="connsiteY42" fmla="*/ 6858000 h 6858000"/>
              <a:gd name="connsiteX43" fmla="*/ 8393302 w 10037025"/>
              <a:gd name="connsiteY43" fmla="*/ 6858000 h 6858000"/>
              <a:gd name="connsiteX44" fmla="*/ 8216905 w 10037025"/>
              <a:gd name="connsiteY44" fmla="*/ 6858000 h 6858000"/>
              <a:gd name="connsiteX45" fmla="*/ 8015347 w 10037025"/>
              <a:gd name="connsiteY45" fmla="*/ 6858000 h 6858000"/>
              <a:gd name="connsiteX46" fmla="*/ 7786952 w 10037025"/>
              <a:gd name="connsiteY46" fmla="*/ 6858000 h 6858000"/>
              <a:gd name="connsiteX47" fmla="*/ 7530043 w 10037025"/>
              <a:gd name="connsiteY47" fmla="*/ 6858000 h 6858000"/>
              <a:gd name="connsiteX48" fmla="*/ 7242942 w 10037025"/>
              <a:gd name="connsiteY48" fmla="*/ 6858000 h 6858000"/>
              <a:gd name="connsiteX49" fmla="*/ 6923972 w 10037025"/>
              <a:gd name="connsiteY49" fmla="*/ 6858000 h 6858000"/>
              <a:gd name="connsiteX50" fmla="*/ 6571455 w 10037025"/>
              <a:gd name="connsiteY50" fmla="*/ 6858000 h 6858000"/>
              <a:gd name="connsiteX51" fmla="*/ 6183715 w 10037025"/>
              <a:gd name="connsiteY51" fmla="*/ 6858000 h 6858000"/>
              <a:gd name="connsiteX52" fmla="*/ 5759074 w 10037025"/>
              <a:gd name="connsiteY52" fmla="*/ 6858000 h 6858000"/>
              <a:gd name="connsiteX53" fmla="*/ 5295854 w 10037025"/>
              <a:gd name="connsiteY53" fmla="*/ 6858000 h 6858000"/>
              <a:gd name="connsiteX54" fmla="*/ 4792379 w 10037025"/>
              <a:gd name="connsiteY54" fmla="*/ 6858000 h 6858000"/>
              <a:gd name="connsiteX55" fmla="*/ 4246971 w 10037025"/>
              <a:gd name="connsiteY55" fmla="*/ 6858000 h 6858000"/>
              <a:gd name="connsiteX56" fmla="*/ 3657953 w 10037025"/>
              <a:gd name="connsiteY56" fmla="*/ 6858000 h 6858000"/>
              <a:gd name="connsiteX57" fmla="*/ 3023647 w 10037025"/>
              <a:gd name="connsiteY57" fmla="*/ 6858000 h 6858000"/>
              <a:gd name="connsiteX58" fmla="*/ 2342376 w 10037025"/>
              <a:gd name="connsiteY58" fmla="*/ 6858000 h 6858000"/>
              <a:gd name="connsiteX59" fmla="*/ 1612463 w 10037025"/>
              <a:gd name="connsiteY59" fmla="*/ 6858000 h 6858000"/>
              <a:gd name="connsiteX60" fmla="*/ 832230 w 10037025"/>
              <a:gd name="connsiteY60" fmla="*/ 6858000 h 6858000"/>
              <a:gd name="connsiteX61" fmla="*/ 422719 w 10037025"/>
              <a:gd name="connsiteY61" fmla="*/ 6858000 h 6858000"/>
              <a:gd name="connsiteX62" fmla="*/ 0 w 10037025"/>
              <a:gd name="connsiteY6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10037025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1145050" y="0"/>
                </a:lnTo>
                <a:lnTo>
                  <a:pt x="1373445" y="0"/>
                </a:lnTo>
                <a:lnTo>
                  <a:pt x="1630354" y="0"/>
                </a:lnTo>
                <a:lnTo>
                  <a:pt x="1917455" y="0"/>
                </a:lnTo>
                <a:lnTo>
                  <a:pt x="2236425" y="0"/>
                </a:lnTo>
                <a:lnTo>
                  <a:pt x="2588941" y="0"/>
                </a:lnTo>
                <a:lnTo>
                  <a:pt x="2976682" y="0"/>
                </a:lnTo>
                <a:lnTo>
                  <a:pt x="3401323" y="0"/>
                </a:lnTo>
                <a:lnTo>
                  <a:pt x="3864542" y="0"/>
                </a:lnTo>
                <a:lnTo>
                  <a:pt x="4368018" y="0"/>
                </a:lnTo>
                <a:lnTo>
                  <a:pt x="4913426" y="0"/>
                </a:lnTo>
                <a:lnTo>
                  <a:pt x="5502444" y="0"/>
                </a:lnTo>
                <a:lnTo>
                  <a:pt x="6136750" y="0"/>
                </a:lnTo>
                <a:lnTo>
                  <a:pt x="6818021" y="0"/>
                </a:lnTo>
                <a:lnTo>
                  <a:pt x="7547934" y="0"/>
                </a:lnTo>
                <a:lnTo>
                  <a:pt x="8328167" y="0"/>
                </a:lnTo>
                <a:lnTo>
                  <a:pt x="8737677" y="0"/>
                </a:lnTo>
                <a:lnTo>
                  <a:pt x="9160396" y="0"/>
                </a:lnTo>
                <a:cubicBezTo>
                  <a:pt x="9719106" y="1018571"/>
                  <a:pt x="10037025" y="2187207"/>
                  <a:pt x="10037025" y="3429000"/>
                </a:cubicBezTo>
                <a:cubicBezTo>
                  <a:pt x="10037025" y="4671731"/>
                  <a:pt x="9719106" y="5839430"/>
                  <a:pt x="9160396" y="6858000"/>
                </a:cubicBezTo>
                <a:lnTo>
                  <a:pt x="9158160" y="6858000"/>
                </a:lnTo>
                <a:lnTo>
                  <a:pt x="9142505" y="6858000"/>
                </a:lnTo>
                <a:lnTo>
                  <a:pt x="9100012" y="6858000"/>
                </a:lnTo>
                <a:lnTo>
                  <a:pt x="9064509" y="6858000"/>
                </a:lnTo>
                <a:lnTo>
                  <a:pt x="9017265" y="6858000"/>
                </a:lnTo>
                <a:lnTo>
                  <a:pt x="8956602" y="6858000"/>
                </a:lnTo>
                <a:lnTo>
                  <a:pt x="8880843" y="6858000"/>
                </a:lnTo>
                <a:lnTo>
                  <a:pt x="8788311" y="6858000"/>
                </a:lnTo>
                <a:lnTo>
                  <a:pt x="8677328" y="6858000"/>
                </a:lnTo>
                <a:lnTo>
                  <a:pt x="8546218" y="6858000"/>
                </a:lnTo>
                <a:lnTo>
                  <a:pt x="8393302" y="6858000"/>
                </a:lnTo>
                <a:lnTo>
                  <a:pt x="8216905" y="6858000"/>
                </a:lnTo>
                <a:lnTo>
                  <a:pt x="8015347" y="6858000"/>
                </a:lnTo>
                <a:lnTo>
                  <a:pt x="7786952" y="6858000"/>
                </a:lnTo>
                <a:lnTo>
                  <a:pt x="7530043" y="6858000"/>
                </a:lnTo>
                <a:lnTo>
                  <a:pt x="7242942" y="6858000"/>
                </a:lnTo>
                <a:lnTo>
                  <a:pt x="6923972" y="6858000"/>
                </a:lnTo>
                <a:lnTo>
                  <a:pt x="6571455" y="6858000"/>
                </a:lnTo>
                <a:lnTo>
                  <a:pt x="6183715" y="6858000"/>
                </a:lnTo>
                <a:lnTo>
                  <a:pt x="5759074" y="6858000"/>
                </a:lnTo>
                <a:lnTo>
                  <a:pt x="5295854" y="6858000"/>
                </a:lnTo>
                <a:lnTo>
                  <a:pt x="4792379" y="6858000"/>
                </a:lnTo>
                <a:lnTo>
                  <a:pt x="4246971" y="6858000"/>
                </a:lnTo>
                <a:lnTo>
                  <a:pt x="3657953" y="6858000"/>
                </a:lnTo>
                <a:lnTo>
                  <a:pt x="3023647" y="6858000"/>
                </a:lnTo>
                <a:lnTo>
                  <a:pt x="2342376" y="6858000"/>
                </a:lnTo>
                <a:lnTo>
                  <a:pt x="161246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C370884F-6311-49C2-8806-A75B8B32042D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10029017" cy="6852528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 indent="0" eaLnBrk="0" fontAlgn="base" hangingPunct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​"/>
            </a:pPr>
            <a:endParaRPr lang="en-US" sz="2000" b="0" dirty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  <a:sym typeface="Proxima Nova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8629D78-F573-4D41-A217-4A90EC9145D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91781" y="6087872"/>
            <a:ext cx="1308671" cy="438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001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(Single Lef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29A41F1-58BA-49CE-9836-9967CA8735F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1" y="0"/>
            <a:ext cx="6095999" cy="6858000"/>
          </a:xfrm>
          <a:custGeom>
            <a:avLst/>
            <a:gdLst>
              <a:gd name="connsiteX0" fmla="*/ 0 w 6095999"/>
              <a:gd name="connsiteY0" fmla="*/ 0 h 6858000"/>
              <a:gd name="connsiteX1" fmla="*/ 2237 w 6095999"/>
              <a:gd name="connsiteY1" fmla="*/ 0 h 6858000"/>
              <a:gd name="connsiteX2" fmla="*/ 17892 w 6095999"/>
              <a:gd name="connsiteY2" fmla="*/ 0 h 6858000"/>
              <a:gd name="connsiteX3" fmla="*/ 60384 w 6095999"/>
              <a:gd name="connsiteY3" fmla="*/ 0 h 6858000"/>
              <a:gd name="connsiteX4" fmla="*/ 95887 w 6095999"/>
              <a:gd name="connsiteY4" fmla="*/ 0 h 6858000"/>
              <a:gd name="connsiteX5" fmla="*/ 143131 w 6095999"/>
              <a:gd name="connsiteY5" fmla="*/ 0 h 6858000"/>
              <a:gd name="connsiteX6" fmla="*/ 203794 w 6095999"/>
              <a:gd name="connsiteY6" fmla="*/ 0 h 6858000"/>
              <a:gd name="connsiteX7" fmla="*/ 279553 w 6095999"/>
              <a:gd name="connsiteY7" fmla="*/ 0 h 6858000"/>
              <a:gd name="connsiteX8" fmla="*/ 372085 w 6095999"/>
              <a:gd name="connsiteY8" fmla="*/ 0 h 6858000"/>
              <a:gd name="connsiteX9" fmla="*/ 426992 w 6095999"/>
              <a:gd name="connsiteY9" fmla="*/ 0 h 6858000"/>
              <a:gd name="connsiteX10" fmla="*/ 483068 w 6095999"/>
              <a:gd name="connsiteY10" fmla="*/ 0 h 6858000"/>
              <a:gd name="connsiteX11" fmla="*/ 614178 w 6095999"/>
              <a:gd name="connsiteY11" fmla="*/ 0 h 6858000"/>
              <a:gd name="connsiteX12" fmla="*/ 767094 w 6095999"/>
              <a:gd name="connsiteY12" fmla="*/ 0 h 6858000"/>
              <a:gd name="connsiteX13" fmla="*/ 943492 w 6095999"/>
              <a:gd name="connsiteY13" fmla="*/ 0 h 6858000"/>
              <a:gd name="connsiteX14" fmla="*/ 972400 w 6095999"/>
              <a:gd name="connsiteY14" fmla="*/ 0 h 6858000"/>
              <a:gd name="connsiteX15" fmla="*/ 1145050 w 6095999"/>
              <a:gd name="connsiteY15" fmla="*/ 0 h 6858000"/>
              <a:gd name="connsiteX16" fmla="*/ 1373445 w 6095999"/>
              <a:gd name="connsiteY16" fmla="*/ 0 h 6858000"/>
              <a:gd name="connsiteX17" fmla="*/ 1561418 w 6095999"/>
              <a:gd name="connsiteY17" fmla="*/ 0 h 6858000"/>
              <a:gd name="connsiteX18" fmla="*/ 1630354 w 6095999"/>
              <a:gd name="connsiteY18" fmla="*/ 0 h 6858000"/>
              <a:gd name="connsiteX19" fmla="*/ 1917455 w 6095999"/>
              <a:gd name="connsiteY19" fmla="*/ 0 h 6858000"/>
              <a:gd name="connsiteX20" fmla="*/ 2195724 w 6095999"/>
              <a:gd name="connsiteY20" fmla="*/ 0 h 6858000"/>
              <a:gd name="connsiteX21" fmla="*/ 2236425 w 6095999"/>
              <a:gd name="connsiteY21" fmla="*/ 0 h 6858000"/>
              <a:gd name="connsiteX22" fmla="*/ 2588941 w 6095999"/>
              <a:gd name="connsiteY22" fmla="*/ 0 h 6858000"/>
              <a:gd name="connsiteX23" fmla="*/ 2876995 w 6095999"/>
              <a:gd name="connsiteY23" fmla="*/ 0 h 6858000"/>
              <a:gd name="connsiteX24" fmla="*/ 2976682 w 6095999"/>
              <a:gd name="connsiteY24" fmla="*/ 0 h 6858000"/>
              <a:gd name="connsiteX25" fmla="*/ 3401323 w 6095999"/>
              <a:gd name="connsiteY25" fmla="*/ 0 h 6858000"/>
              <a:gd name="connsiteX26" fmla="*/ 3606908 w 6095999"/>
              <a:gd name="connsiteY26" fmla="*/ 0 h 6858000"/>
              <a:gd name="connsiteX27" fmla="*/ 3864542 w 6095999"/>
              <a:gd name="connsiteY27" fmla="*/ 0 h 6858000"/>
              <a:gd name="connsiteX28" fmla="*/ 4368018 w 6095999"/>
              <a:gd name="connsiteY28" fmla="*/ 0 h 6858000"/>
              <a:gd name="connsiteX29" fmla="*/ 4387141 w 6095999"/>
              <a:gd name="connsiteY29" fmla="*/ 0 h 6858000"/>
              <a:gd name="connsiteX30" fmla="*/ 4796651 w 6095999"/>
              <a:gd name="connsiteY30" fmla="*/ 0 h 6858000"/>
              <a:gd name="connsiteX31" fmla="*/ 4913426 w 6095999"/>
              <a:gd name="connsiteY31" fmla="*/ 0 h 6858000"/>
              <a:gd name="connsiteX32" fmla="*/ 5219370 w 6095999"/>
              <a:gd name="connsiteY32" fmla="*/ 0 h 6858000"/>
              <a:gd name="connsiteX33" fmla="*/ 6095999 w 6095999"/>
              <a:gd name="connsiteY33" fmla="*/ 3429000 h 6858000"/>
              <a:gd name="connsiteX34" fmla="*/ 5219370 w 6095999"/>
              <a:gd name="connsiteY34" fmla="*/ 6858000 h 6858000"/>
              <a:gd name="connsiteX35" fmla="*/ 5217134 w 6095999"/>
              <a:gd name="connsiteY35" fmla="*/ 6858000 h 6858000"/>
              <a:gd name="connsiteX36" fmla="*/ 5201479 w 6095999"/>
              <a:gd name="connsiteY36" fmla="*/ 6858000 h 6858000"/>
              <a:gd name="connsiteX37" fmla="*/ 5158986 w 6095999"/>
              <a:gd name="connsiteY37" fmla="*/ 6858000 h 6858000"/>
              <a:gd name="connsiteX38" fmla="*/ 5123483 w 6095999"/>
              <a:gd name="connsiteY38" fmla="*/ 6858000 h 6858000"/>
              <a:gd name="connsiteX39" fmla="*/ 5076239 w 6095999"/>
              <a:gd name="connsiteY39" fmla="*/ 6858000 h 6858000"/>
              <a:gd name="connsiteX40" fmla="*/ 5015576 w 6095999"/>
              <a:gd name="connsiteY40" fmla="*/ 6858000 h 6858000"/>
              <a:gd name="connsiteX41" fmla="*/ 4939817 w 6095999"/>
              <a:gd name="connsiteY41" fmla="*/ 6858000 h 6858000"/>
              <a:gd name="connsiteX42" fmla="*/ 4847285 w 6095999"/>
              <a:gd name="connsiteY42" fmla="*/ 6858000 h 6858000"/>
              <a:gd name="connsiteX43" fmla="*/ 4792379 w 6095999"/>
              <a:gd name="connsiteY43" fmla="*/ 6858000 h 6858000"/>
              <a:gd name="connsiteX44" fmla="*/ 4736302 w 6095999"/>
              <a:gd name="connsiteY44" fmla="*/ 6858000 h 6858000"/>
              <a:gd name="connsiteX45" fmla="*/ 4605192 w 6095999"/>
              <a:gd name="connsiteY45" fmla="*/ 6858000 h 6858000"/>
              <a:gd name="connsiteX46" fmla="*/ 4452276 w 6095999"/>
              <a:gd name="connsiteY46" fmla="*/ 6858000 h 6858000"/>
              <a:gd name="connsiteX47" fmla="*/ 4275879 w 6095999"/>
              <a:gd name="connsiteY47" fmla="*/ 6858000 h 6858000"/>
              <a:gd name="connsiteX48" fmla="*/ 4246971 w 6095999"/>
              <a:gd name="connsiteY48" fmla="*/ 6858000 h 6858000"/>
              <a:gd name="connsiteX49" fmla="*/ 4074321 w 6095999"/>
              <a:gd name="connsiteY49" fmla="*/ 6858000 h 6858000"/>
              <a:gd name="connsiteX50" fmla="*/ 3845926 w 6095999"/>
              <a:gd name="connsiteY50" fmla="*/ 6858000 h 6858000"/>
              <a:gd name="connsiteX51" fmla="*/ 3657953 w 6095999"/>
              <a:gd name="connsiteY51" fmla="*/ 6858000 h 6858000"/>
              <a:gd name="connsiteX52" fmla="*/ 3589017 w 6095999"/>
              <a:gd name="connsiteY52" fmla="*/ 6858000 h 6858000"/>
              <a:gd name="connsiteX53" fmla="*/ 3301916 w 6095999"/>
              <a:gd name="connsiteY53" fmla="*/ 6858000 h 6858000"/>
              <a:gd name="connsiteX54" fmla="*/ 3023647 w 6095999"/>
              <a:gd name="connsiteY54" fmla="*/ 6858000 h 6858000"/>
              <a:gd name="connsiteX55" fmla="*/ 2982946 w 6095999"/>
              <a:gd name="connsiteY55" fmla="*/ 6858000 h 6858000"/>
              <a:gd name="connsiteX56" fmla="*/ 2630429 w 6095999"/>
              <a:gd name="connsiteY56" fmla="*/ 6858000 h 6858000"/>
              <a:gd name="connsiteX57" fmla="*/ 2342376 w 6095999"/>
              <a:gd name="connsiteY57" fmla="*/ 6858000 h 6858000"/>
              <a:gd name="connsiteX58" fmla="*/ 2242689 w 6095999"/>
              <a:gd name="connsiteY58" fmla="*/ 6858000 h 6858000"/>
              <a:gd name="connsiteX59" fmla="*/ 1818048 w 6095999"/>
              <a:gd name="connsiteY59" fmla="*/ 6858000 h 6858000"/>
              <a:gd name="connsiteX60" fmla="*/ 1612463 w 6095999"/>
              <a:gd name="connsiteY60" fmla="*/ 6858000 h 6858000"/>
              <a:gd name="connsiteX61" fmla="*/ 1354828 w 6095999"/>
              <a:gd name="connsiteY61" fmla="*/ 6858000 h 6858000"/>
              <a:gd name="connsiteX62" fmla="*/ 851353 w 6095999"/>
              <a:gd name="connsiteY62" fmla="*/ 6858000 h 6858000"/>
              <a:gd name="connsiteX63" fmla="*/ 832230 w 6095999"/>
              <a:gd name="connsiteY63" fmla="*/ 6858000 h 6858000"/>
              <a:gd name="connsiteX64" fmla="*/ 422719 w 6095999"/>
              <a:gd name="connsiteY64" fmla="*/ 6858000 h 6858000"/>
              <a:gd name="connsiteX65" fmla="*/ 305945 w 6095999"/>
              <a:gd name="connsiteY65" fmla="*/ 6858000 h 6858000"/>
              <a:gd name="connsiteX66" fmla="*/ 0 w 6095999"/>
              <a:gd name="connsiteY6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6095999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26992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972400" y="0"/>
                </a:lnTo>
                <a:lnTo>
                  <a:pt x="1145050" y="0"/>
                </a:lnTo>
                <a:lnTo>
                  <a:pt x="1373445" y="0"/>
                </a:lnTo>
                <a:lnTo>
                  <a:pt x="1561418" y="0"/>
                </a:lnTo>
                <a:lnTo>
                  <a:pt x="1630354" y="0"/>
                </a:lnTo>
                <a:lnTo>
                  <a:pt x="1917455" y="0"/>
                </a:lnTo>
                <a:lnTo>
                  <a:pt x="2195724" y="0"/>
                </a:lnTo>
                <a:lnTo>
                  <a:pt x="2236425" y="0"/>
                </a:lnTo>
                <a:lnTo>
                  <a:pt x="2588941" y="0"/>
                </a:lnTo>
                <a:lnTo>
                  <a:pt x="2876995" y="0"/>
                </a:lnTo>
                <a:lnTo>
                  <a:pt x="2976682" y="0"/>
                </a:lnTo>
                <a:lnTo>
                  <a:pt x="3401323" y="0"/>
                </a:lnTo>
                <a:lnTo>
                  <a:pt x="3606908" y="0"/>
                </a:lnTo>
                <a:lnTo>
                  <a:pt x="3864542" y="0"/>
                </a:lnTo>
                <a:lnTo>
                  <a:pt x="4368018" y="0"/>
                </a:lnTo>
                <a:lnTo>
                  <a:pt x="4387141" y="0"/>
                </a:lnTo>
                <a:lnTo>
                  <a:pt x="4796651" y="0"/>
                </a:lnTo>
                <a:lnTo>
                  <a:pt x="4913426" y="0"/>
                </a:lnTo>
                <a:lnTo>
                  <a:pt x="5219370" y="0"/>
                </a:lnTo>
                <a:cubicBezTo>
                  <a:pt x="5778080" y="1018571"/>
                  <a:pt x="6095999" y="2187207"/>
                  <a:pt x="6095999" y="3429000"/>
                </a:cubicBezTo>
                <a:cubicBezTo>
                  <a:pt x="6095999" y="4671731"/>
                  <a:pt x="5778080" y="5839430"/>
                  <a:pt x="5219370" y="6858000"/>
                </a:cubicBezTo>
                <a:lnTo>
                  <a:pt x="5217134" y="6858000"/>
                </a:lnTo>
                <a:lnTo>
                  <a:pt x="5201479" y="6858000"/>
                </a:lnTo>
                <a:lnTo>
                  <a:pt x="5158986" y="6858000"/>
                </a:lnTo>
                <a:lnTo>
                  <a:pt x="5123483" y="6858000"/>
                </a:lnTo>
                <a:lnTo>
                  <a:pt x="5076239" y="6858000"/>
                </a:lnTo>
                <a:lnTo>
                  <a:pt x="5015576" y="6858000"/>
                </a:lnTo>
                <a:lnTo>
                  <a:pt x="4939817" y="6858000"/>
                </a:lnTo>
                <a:lnTo>
                  <a:pt x="4847285" y="6858000"/>
                </a:lnTo>
                <a:lnTo>
                  <a:pt x="4792379" y="6858000"/>
                </a:lnTo>
                <a:lnTo>
                  <a:pt x="4736302" y="6858000"/>
                </a:lnTo>
                <a:lnTo>
                  <a:pt x="4605192" y="6858000"/>
                </a:lnTo>
                <a:lnTo>
                  <a:pt x="4452276" y="6858000"/>
                </a:lnTo>
                <a:lnTo>
                  <a:pt x="4275879" y="6858000"/>
                </a:lnTo>
                <a:lnTo>
                  <a:pt x="4246971" y="6858000"/>
                </a:lnTo>
                <a:lnTo>
                  <a:pt x="4074321" y="6858000"/>
                </a:lnTo>
                <a:lnTo>
                  <a:pt x="3845926" y="6858000"/>
                </a:lnTo>
                <a:lnTo>
                  <a:pt x="3657953" y="6858000"/>
                </a:lnTo>
                <a:lnTo>
                  <a:pt x="3589017" y="6858000"/>
                </a:lnTo>
                <a:lnTo>
                  <a:pt x="3301916" y="6858000"/>
                </a:lnTo>
                <a:lnTo>
                  <a:pt x="3023647" y="6858000"/>
                </a:lnTo>
                <a:lnTo>
                  <a:pt x="2982946" y="6858000"/>
                </a:lnTo>
                <a:lnTo>
                  <a:pt x="2630429" y="6858000"/>
                </a:lnTo>
                <a:lnTo>
                  <a:pt x="2342376" y="6858000"/>
                </a:lnTo>
                <a:lnTo>
                  <a:pt x="2242689" y="6858000"/>
                </a:lnTo>
                <a:lnTo>
                  <a:pt x="1818048" y="6858000"/>
                </a:lnTo>
                <a:lnTo>
                  <a:pt x="1612463" y="6858000"/>
                </a:lnTo>
                <a:lnTo>
                  <a:pt x="1354828" y="6858000"/>
                </a:lnTo>
                <a:lnTo>
                  <a:pt x="85135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30594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31000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1000" y="167677"/>
            <a:ext cx="496722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</p:spTree>
    <p:extLst>
      <p:ext uri="{BB962C8B-B14F-4D97-AF65-F5344CB8AC3E}">
        <p14:creationId xmlns:p14="http://schemas.microsoft.com/office/powerpoint/2010/main" val="2658800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(Single Righ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776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496722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919739B-51A2-4ADE-AAB0-76FE3337933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ltGray">
          <a:xfrm>
            <a:off x="6096001" y="0"/>
            <a:ext cx="6096001" cy="6858000"/>
          </a:xfrm>
          <a:custGeom>
            <a:avLst/>
            <a:gdLst>
              <a:gd name="connsiteX0" fmla="*/ 876629 w 6096001"/>
              <a:gd name="connsiteY0" fmla="*/ 0 h 6858000"/>
              <a:gd name="connsiteX1" fmla="*/ 1299348 w 6096001"/>
              <a:gd name="connsiteY1" fmla="*/ 0 h 6858000"/>
              <a:gd name="connsiteX2" fmla="*/ 1708858 w 6096001"/>
              <a:gd name="connsiteY2" fmla="*/ 0 h 6858000"/>
              <a:gd name="connsiteX3" fmla="*/ 2489091 w 6096001"/>
              <a:gd name="connsiteY3" fmla="*/ 0 h 6858000"/>
              <a:gd name="connsiteX4" fmla="*/ 3219004 w 6096001"/>
              <a:gd name="connsiteY4" fmla="*/ 0 h 6858000"/>
              <a:gd name="connsiteX5" fmla="*/ 3900275 w 6096001"/>
              <a:gd name="connsiteY5" fmla="*/ 0 h 6858000"/>
              <a:gd name="connsiteX6" fmla="*/ 4534581 w 6096001"/>
              <a:gd name="connsiteY6" fmla="*/ 0 h 6858000"/>
              <a:gd name="connsiteX7" fmla="*/ 5123599 w 6096001"/>
              <a:gd name="connsiteY7" fmla="*/ 0 h 6858000"/>
              <a:gd name="connsiteX8" fmla="*/ 5669007 w 6096001"/>
              <a:gd name="connsiteY8" fmla="*/ 0 h 6858000"/>
              <a:gd name="connsiteX9" fmla="*/ 6096001 w 6096001"/>
              <a:gd name="connsiteY9" fmla="*/ 0 h 6858000"/>
              <a:gd name="connsiteX10" fmla="*/ 6096001 w 6096001"/>
              <a:gd name="connsiteY10" fmla="*/ 6858000 h 6858000"/>
              <a:gd name="connsiteX11" fmla="*/ 5790054 w 6096001"/>
              <a:gd name="connsiteY11" fmla="*/ 6858000 h 6858000"/>
              <a:gd name="connsiteX12" fmla="*/ 5244646 w 6096001"/>
              <a:gd name="connsiteY12" fmla="*/ 6858000 h 6858000"/>
              <a:gd name="connsiteX13" fmla="*/ 4741171 w 6096001"/>
              <a:gd name="connsiteY13" fmla="*/ 6858000 h 6858000"/>
              <a:gd name="connsiteX14" fmla="*/ 4277951 w 6096001"/>
              <a:gd name="connsiteY14" fmla="*/ 6858000 h 6858000"/>
              <a:gd name="connsiteX15" fmla="*/ 3853310 w 6096001"/>
              <a:gd name="connsiteY15" fmla="*/ 6858000 h 6858000"/>
              <a:gd name="connsiteX16" fmla="*/ 3465570 w 6096001"/>
              <a:gd name="connsiteY16" fmla="*/ 6858000 h 6858000"/>
              <a:gd name="connsiteX17" fmla="*/ 3113053 w 6096001"/>
              <a:gd name="connsiteY17" fmla="*/ 6858000 h 6858000"/>
              <a:gd name="connsiteX18" fmla="*/ 2794083 w 6096001"/>
              <a:gd name="connsiteY18" fmla="*/ 6858000 h 6858000"/>
              <a:gd name="connsiteX19" fmla="*/ 2506982 w 6096001"/>
              <a:gd name="connsiteY19" fmla="*/ 6858000 h 6858000"/>
              <a:gd name="connsiteX20" fmla="*/ 2250073 w 6096001"/>
              <a:gd name="connsiteY20" fmla="*/ 6858000 h 6858000"/>
              <a:gd name="connsiteX21" fmla="*/ 2021678 w 6096001"/>
              <a:gd name="connsiteY21" fmla="*/ 6858000 h 6858000"/>
              <a:gd name="connsiteX22" fmla="*/ 1820120 w 6096001"/>
              <a:gd name="connsiteY22" fmla="*/ 6858000 h 6858000"/>
              <a:gd name="connsiteX23" fmla="*/ 1643723 w 6096001"/>
              <a:gd name="connsiteY23" fmla="*/ 6858000 h 6858000"/>
              <a:gd name="connsiteX24" fmla="*/ 1490807 w 6096001"/>
              <a:gd name="connsiteY24" fmla="*/ 6858000 h 6858000"/>
              <a:gd name="connsiteX25" fmla="*/ 1359697 w 6096001"/>
              <a:gd name="connsiteY25" fmla="*/ 6858000 h 6858000"/>
              <a:gd name="connsiteX26" fmla="*/ 1248714 w 6096001"/>
              <a:gd name="connsiteY26" fmla="*/ 6858000 h 6858000"/>
              <a:gd name="connsiteX27" fmla="*/ 1156182 w 6096001"/>
              <a:gd name="connsiteY27" fmla="*/ 6858000 h 6858000"/>
              <a:gd name="connsiteX28" fmla="*/ 1080423 w 6096001"/>
              <a:gd name="connsiteY28" fmla="*/ 6858000 h 6858000"/>
              <a:gd name="connsiteX29" fmla="*/ 1019760 w 6096001"/>
              <a:gd name="connsiteY29" fmla="*/ 6858000 h 6858000"/>
              <a:gd name="connsiteX30" fmla="*/ 972516 w 6096001"/>
              <a:gd name="connsiteY30" fmla="*/ 6858000 h 6858000"/>
              <a:gd name="connsiteX31" fmla="*/ 937013 w 6096001"/>
              <a:gd name="connsiteY31" fmla="*/ 6858000 h 6858000"/>
              <a:gd name="connsiteX32" fmla="*/ 894520 w 6096001"/>
              <a:gd name="connsiteY32" fmla="*/ 6858000 h 6858000"/>
              <a:gd name="connsiteX33" fmla="*/ 878865 w 6096001"/>
              <a:gd name="connsiteY33" fmla="*/ 6858000 h 6858000"/>
              <a:gd name="connsiteX34" fmla="*/ 876629 w 6096001"/>
              <a:gd name="connsiteY34" fmla="*/ 6858000 h 6858000"/>
              <a:gd name="connsiteX35" fmla="*/ 0 w 6096001"/>
              <a:gd name="connsiteY35" fmla="*/ 3429000 h 6858000"/>
              <a:gd name="connsiteX36" fmla="*/ 876629 w 6096001"/>
              <a:gd name="connsiteY3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96001" h="6858000">
                <a:moveTo>
                  <a:pt x="876629" y="0"/>
                </a:moveTo>
                <a:lnTo>
                  <a:pt x="1299348" y="0"/>
                </a:lnTo>
                <a:lnTo>
                  <a:pt x="1708858" y="0"/>
                </a:lnTo>
                <a:lnTo>
                  <a:pt x="2489091" y="0"/>
                </a:lnTo>
                <a:lnTo>
                  <a:pt x="3219004" y="0"/>
                </a:lnTo>
                <a:lnTo>
                  <a:pt x="3900275" y="0"/>
                </a:lnTo>
                <a:lnTo>
                  <a:pt x="4534581" y="0"/>
                </a:lnTo>
                <a:lnTo>
                  <a:pt x="5123599" y="0"/>
                </a:lnTo>
                <a:lnTo>
                  <a:pt x="5669007" y="0"/>
                </a:lnTo>
                <a:lnTo>
                  <a:pt x="6096001" y="0"/>
                </a:lnTo>
                <a:lnTo>
                  <a:pt x="6096001" y="6858000"/>
                </a:lnTo>
                <a:lnTo>
                  <a:pt x="5790054" y="6858000"/>
                </a:lnTo>
                <a:lnTo>
                  <a:pt x="5244646" y="6858000"/>
                </a:lnTo>
                <a:lnTo>
                  <a:pt x="4741171" y="6858000"/>
                </a:lnTo>
                <a:lnTo>
                  <a:pt x="4277951" y="6858000"/>
                </a:lnTo>
                <a:lnTo>
                  <a:pt x="3853310" y="6858000"/>
                </a:lnTo>
                <a:lnTo>
                  <a:pt x="3465570" y="6858000"/>
                </a:lnTo>
                <a:lnTo>
                  <a:pt x="3113053" y="6858000"/>
                </a:lnTo>
                <a:lnTo>
                  <a:pt x="2794083" y="6858000"/>
                </a:lnTo>
                <a:lnTo>
                  <a:pt x="2506982" y="6858000"/>
                </a:lnTo>
                <a:lnTo>
                  <a:pt x="2250073" y="6858000"/>
                </a:lnTo>
                <a:lnTo>
                  <a:pt x="2021678" y="6858000"/>
                </a:lnTo>
                <a:lnTo>
                  <a:pt x="1820120" y="6858000"/>
                </a:lnTo>
                <a:lnTo>
                  <a:pt x="1643723" y="6858000"/>
                </a:lnTo>
                <a:lnTo>
                  <a:pt x="1490807" y="6858000"/>
                </a:lnTo>
                <a:lnTo>
                  <a:pt x="1359697" y="6858000"/>
                </a:lnTo>
                <a:lnTo>
                  <a:pt x="1248714" y="6858000"/>
                </a:lnTo>
                <a:lnTo>
                  <a:pt x="1156182" y="6858000"/>
                </a:lnTo>
                <a:lnTo>
                  <a:pt x="1080423" y="6858000"/>
                </a:lnTo>
                <a:lnTo>
                  <a:pt x="1019760" y="6858000"/>
                </a:lnTo>
                <a:lnTo>
                  <a:pt x="972516" y="6858000"/>
                </a:lnTo>
                <a:lnTo>
                  <a:pt x="937013" y="6858000"/>
                </a:lnTo>
                <a:lnTo>
                  <a:pt x="894520" y="6858000"/>
                </a:lnTo>
                <a:lnTo>
                  <a:pt x="878865" y="6858000"/>
                </a:lnTo>
                <a:lnTo>
                  <a:pt x="876629" y="6858000"/>
                </a:lnTo>
                <a:cubicBezTo>
                  <a:pt x="317919" y="5839430"/>
                  <a:pt x="0" y="4671731"/>
                  <a:pt x="0" y="3429000"/>
                </a:cubicBezTo>
                <a:cubicBezTo>
                  <a:pt x="0" y="2187207"/>
                  <a:pt x="317919" y="1018571"/>
                  <a:pt x="876629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vert="horz" wrap="square" lIns="1005840" tIns="0" rIns="0" bIns="0" rtlCol="0">
            <a:noAutofit/>
          </a:bodyPr>
          <a:lstStyle>
            <a:lvl1pPr>
              <a:defRPr lang="en-US" dirty="0"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891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(Multi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6F15D45E-1A29-46E9-B58E-872FED8D000F}"/>
              </a:ext>
            </a:extLst>
          </p:cNvPr>
          <p:cNvSpPr/>
          <p:nvPr userDrawn="1"/>
        </p:nvSpPr>
        <p:spPr bwMode="ltGray">
          <a:xfrm>
            <a:off x="742098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dirty="0">
              <a:sym typeface="Proxima Nova Light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681DC18-66F7-491B-8089-60DD8E1AB1AA}"/>
              </a:ext>
            </a:extLst>
          </p:cNvPr>
          <p:cNvSpPr/>
          <p:nvPr userDrawn="1"/>
        </p:nvSpPr>
        <p:spPr bwMode="ltGray">
          <a:xfrm>
            <a:off x="4555746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dirty="0">
              <a:sym typeface="Proxima Nova Light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75A85B8-9A99-4F3C-933A-121390A9334B}"/>
              </a:ext>
            </a:extLst>
          </p:cNvPr>
          <p:cNvSpPr/>
          <p:nvPr userDrawn="1"/>
        </p:nvSpPr>
        <p:spPr bwMode="ltGray">
          <a:xfrm>
            <a:off x="8369394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dirty="0">
              <a:sym typeface="Proxima Nova Light" charset="0"/>
            </a:endParaRP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7CA44ADC-5231-43AF-906E-A8DDA719957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72652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ECE4A802-C7F3-4538-B1FB-98E6F61276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686300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39" name="Picture Placeholder 35">
            <a:extLst>
              <a:ext uri="{FF2B5EF4-FFF2-40B4-BE49-F238E27FC236}">
                <a16:creationId xmlns:a16="http://schemas.microsoft.com/office/drawing/2014/main" id="{5B525A51-4DF4-42AF-82A8-0F5A36D8AA4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499948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17BFF989-2765-4A09-8AE8-E2ACBBE59A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6736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1</a:t>
            </a:r>
          </a:p>
        </p:txBody>
      </p:sp>
      <p:sp>
        <p:nvSpPr>
          <p:cNvPr id="43" name="Text Placeholder 41">
            <a:extLst>
              <a:ext uri="{FF2B5EF4-FFF2-40B4-BE49-F238E27FC236}">
                <a16:creationId xmlns:a16="http://schemas.microsoft.com/office/drawing/2014/main" id="{91C01F98-B49B-4B32-B1BB-B41E8EA15A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2663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2</a:t>
            </a:r>
          </a:p>
        </p:txBody>
      </p:sp>
      <p:sp>
        <p:nvSpPr>
          <p:cNvPr id="44" name="Text Placeholder 41">
            <a:extLst>
              <a:ext uri="{FF2B5EF4-FFF2-40B4-BE49-F238E27FC236}">
                <a16:creationId xmlns:a16="http://schemas.microsoft.com/office/drawing/2014/main" id="{FC7C06E5-7271-4B89-AB80-DD09B51F8A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06310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3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F8D4E7B-DD8A-4462-A940-F3A1029BC4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6D966-50E4-4144-82A3-60717BEFC2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/>
              <a:t>CCI Proprietary and Confidentia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E266DFD-040A-4C14-9640-CEEDD94BCA8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2807985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with Body Cop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F289E38-44F5-4D8D-9EE0-619201D57247}"/>
              </a:ext>
            </a:extLst>
          </p:cNvPr>
          <p:cNvSpPr/>
          <p:nvPr userDrawn="1"/>
        </p:nvSpPr>
        <p:spPr bwMode="white">
          <a:xfrm>
            <a:off x="0" y="6249122"/>
            <a:ext cx="12192000" cy="604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640C6A-CF77-4953-9AD6-63845305FE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6580124" cy="89797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5662183-DD4B-4458-ABD2-C710415E28ED}"/>
              </a:ext>
            </a:extLst>
          </p:cNvPr>
          <p:cNvSpPr/>
          <p:nvPr userDrawn="1"/>
        </p:nvSpPr>
        <p:spPr bwMode="ltGray">
          <a:xfrm>
            <a:off x="7244184" y="647700"/>
            <a:ext cx="7710066" cy="7710066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dirty="0">
              <a:sym typeface="Proxima Nova Light" charset="0"/>
            </a:endParaRPr>
          </a:p>
        </p:txBody>
      </p:sp>
      <p:sp>
        <p:nvSpPr>
          <p:cNvPr id="9" name="Picture Placeholder 35">
            <a:extLst>
              <a:ext uri="{FF2B5EF4-FFF2-40B4-BE49-F238E27FC236}">
                <a16:creationId xmlns:a16="http://schemas.microsoft.com/office/drawing/2014/main" id="{B6EFA928-550A-425C-9E54-627E2710A12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73517" y="1375262"/>
            <a:ext cx="6251400" cy="6254942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A5E399-4DEC-4925-BE64-4EBC5F4C64A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FD2725-2034-48A2-8BB6-47D844A186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3776" y="1306513"/>
            <a:ext cx="5741924" cy="48704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7303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>
            <a:extLst>
              <a:ext uri="{FF2B5EF4-FFF2-40B4-BE49-F238E27FC236}">
                <a16:creationId xmlns:a16="http://schemas.microsoft.com/office/drawing/2014/main" id="{E963FA91-2E8D-4668-A0A8-B78EA30819AA}"/>
              </a:ext>
            </a:extLst>
          </p:cNvPr>
          <p:cNvSpPr>
            <a:spLocks noEditPoints="1"/>
          </p:cNvSpPr>
          <p:nvPr userDrawn="1"/>
        </p:nvSpPr>
        <p:spPr bwMode="ltGray">
          <a:xfrm>
            <a:off x="2050147" y="0"/>
            <a:ext cx="8091707" cy="6858000"/>
          </a:xfrm>
          <a:custGeom>
            <a:avLst/>
            <a:gdLst>
              <a:gd name="T0" fmla="*/ 1079 w 3392"/>
              <a:gd name="T1" fmla="*/ 2884 h 2884"/>
              <a:gd name="T2" fmla="*/ 803 w 3392"/>
              <a:gd name="T3" fmla="*/ 2884 h 2884"/>
              <a:gd name="T4" fmla="*/ 0 w 3392"/>
              <a:gd name="T5" fmla="*/ 1442 h 2884"/>
              <a:gd name="T6" fmla="*/ 803 w 3392"/>
              <a:gd name="T7" fmla="*/ 0 h 2884"/>
              <a:gd name="T8" fmla="*/ 1079 w 3392"/>
              <a:gd name="T9" fmla="*/ 0 h 2884"/>
              <a:gd name="T10" fmla="*/ 128 w 3392"/>
              <a:gd name="T11" fmla="*/ 1442 h 2884"/>
              <a:gd name="T12" fmla="*/ 1079 w 3392"/>
              <a:gd name="T13" fmla="*/ 2884 h 2884"/>
              <a:gd name="T14" fmla="*/ 3264 w 3392"/>
              <a:gd name="T15" fmla="*/ 1442 h 2884"/>
              <a:gd name="T16" fmla="*/ 2313 w 3392"/>
              <a:gd name="T17" fmla="*/ 2884 h 2884"/>
              <a:gd name="T18" fmla="*/ 2589 w 3392"/>
              <a:gd name="T19" fmla="*/ 2884 h 2884"/>
              <a:gd name="T20" fmla="*/ 3392 w 3392"/>
              <a:gd name="T21" fmla="*/ 1442 h 2884"/>
              <a:gd name="T22" fmla="*/ 2589 w 3392"/>
              <a:gd name="T23" fmla="*/ 0 h 2884"/>
              <a:gd name="T24" fmla="*/ 2313 w 3392"/>
              <a:gd name="T25" fmla="*/ 0 h 2884"/>
              <a:gd name="T26" fmla="*/ 3264 w 3392"/>
              <a:gd name="T27" fmla="*/ 1442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392" h="2884">
                <a:moveTo>
                  <a:pt x="1079" y="2884"/>
                </a:moveTo>
                <a:cubicBezTo>
                  <a:pt x="803" y="2884"/>
                  <a:pt x="803" y="2884"/>
                  <a:pt x="803" y="2884"/>
                </a:cubicBezTo>
                <a:cubicBezTo>
                  <a:pt x="321" y="2585"/>
                  <a:pt x="0" y="2051"/>
                  <a:pt x="0" y="1442"/>
                </a:cubicBezTo>
                <a:cubicBezTo>
                  <a:pt x="0" y="833"/>
                  <a:pt x="321" y="299"/>
                  <a:pt x="803" y="0"/>
                </a:cubicBezTo>
                <a:cubicBezTo>
                  <a:pt x="1079" y="0"/>
                  <a:pt x="1079" y="0"/>
                  <a:pt x="1079" y="0"/>
                </a:cubicBezTo>
                <a:cubicBezTo>
                  <a:pt x="520" y="240"/>
                  <a:pt x="128" y="795"/>
                  <a:pt x="128" y="1442"/>
                </a:cubicBezTo>
                <a:cubicBezTo>
                  <a:pt x="128" y="2089"/>
                  <a:pt x="520" y="2644"/>
                  <a:pt x="1079" y="2884"/>
                </a:cubicBezTo>
                <a:close/>
                <a:moveTo>
                  <a:pt x="3264" y="1442"/>
                </a:moveTo>
                <a:cubicBezTo>
                  <a:pt x="3264" y="2089"/>
                  <a:pt x="2872" y="2644"/>
                  <a:pt x="2313" y="2884"/>
                </a:cubicBezTo>
                <a:cubicBezTo>
                  <a:pt x="2589" y="2884"/>
                  <a:pt x="2589" y="2884"/>
                  <a:pt x="2589" y="2884"/>
                </a:cubicBezTo>
                <a:cubicBezTo>
                  <a:pt x="3071" y="2585"/>
                  <a:pt x="3392" y="2051"/>
                  <a:pt x="3392" y="1442"/>
                </a:cubicBezTo>
                <a:cubicBezTo>
                  <a:pt x="3392" y="833"/>
                  <a:pt x="3071" y="299"/>
                  <a:pt x="2589" y="0"/>
                </a:cubicBezTo>
                <a:cubicBezTo>
                  <a:pt x="2313" y="0"/>
                  <a:pt x="2313" y="0"/>
                  <a:pt x="2313" y="0"/>
                </a:cubicBezTo>
                <a:cubicBezTo>
                  <a:pt x="2872" y="240"/>
                  <a:pt x="3264" y="795"/>
                  <a:pt x="3264" y="1442"/>
                </a:cubicBez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12" name="Content Placeholder 13">
            <a:extLst>
              <a:ext uri="{FF2B5EF4-FFF2-40B4-BE49-F238E27FC236}">
                <a16:creationId xmlns:a16="http://schemas.microsoft.com/office/drawing/2014/main" id="{B9D677F4-4749-47B1-8AFA-DFA6D872EF2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293257" y="2004515"/>
            <a:ext cx="7605486" cy="284897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152396" indent="-152396" algn="ctr" defTabSz="914377" rtl="0" eaLnBrk="0" fontAlgn="base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SzPct val="100000"/>
              <a:buNone/>
              <a:defRPr lang="en-US" sz="6000" b="0" i="0" kern="1200" baseline="0" dirty="0">
                <a:solidFill>
                  <a:schemeClr val="accent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  <a:sym typeface="Proxima Nova" charset="0"/>
              </a:defRPr>
            </a:lvl1pPr>
            <a:lvl2pPr marL="171445" marR="0" indent="0" algn="l" defTabSz="914377" rtl="0" eaLnBrk="0" fontAlgn="base" latinLnBrk="0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Key Statement</a:t>
            </a:r>
            <a:br>
              <a:rPr lang="en-US"/>
            </a:br>
            <a:r>
              <a:rPr lang="en-US"/>
              <a:t>Placehold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C2602FE-8B27-4067-87FB-0DAB3C428E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99" y="6051007"/>
            <a:ext cx="955343" cy="32004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lid 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Text goes here.</a:t>
            </a:r>
          </a:p>
        </p:txBody>
      </p:sp>
    </p:spTree>
    <p:extLst>
      <p:ext uri="{BB962C8B-B14F-4D97-AF65-F5344CB8AC3E}">
        <p14:creationId xmlns:p14="http://schemas.microsoft.com/office/powerpoint/2010/main" val="357008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Background">
    <p:bg>
      <p:bgPr>
        <a:gradFill>
          <a:gsLst>
            <a:gs pos="0">
              <a:srgbClr val="009AE0"/>
            </a:gs>
            <a:gs pos="100000">
              <a:srgbClr val="00A846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Text goes here.</a:t>
            </a:r>
          </a:p>
        </p:txBody>
      </p:sp>
    </p:spTree>
    <p:extLst>
      <p:ext uri="{BB962C8B-B14F-4D97-AF65-F5344CB8AC3E}">
        <p14:creationId xmlns:p14="http://schemas.microsoft.com/office/powerpoint/2010/main" val="646459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On-Screen Only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B010191-A0CB-4885-8BEB-367627E64C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50736" y="429413"/>
            <a:ext cx="1371600" cy="507492"/>
          </a:xfrm>
          <a:prstGeom prst="rect">
            <a:avLst/>
          </a:prstGeom>
        </p:spPr>
      </p:pic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 userDrawn="1"/>
        </p:nvSpPr>
        <p:spPr bwMode="ltGray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white">
          <a:xfrm>
            <a:off x="512438" y="4554950"/>
            <a:ext cx="5518225" cy="7541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rgbClr val="FFFFFF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ener/Clos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AF9195B-6ED2-49AC-9218-522143C81B76}"/>
              </a:ext>
            </a:extLst>
          </p:cNvPr>
          <p:cNvSpPr/>
          <p:nvPr userDrawn="1"/>
        </p:nvSpPr>
        <p:spPr bwMode="ltGray">
          <a:xfrm>
            <a:off x="1368552" y="0"/>
            <a:ext cx="9454896" cy="6858000"/>
          </a:xfrm>
          <a:custGeom>
            <a:avLst/>
            <a:gdLst>
              <a:gd name="connsiteX0" fmla="*/ 1475039 w 9454896"/>
              <a:gd name="connsiteY0" fmla="*/ 0 h 6858000"/>
              <a:gd name="connsiteX1" fmla="*/ 7979857 w 9454896"/>
              <a:gd name="connsiteY1" fmla="*/ 0 h 6858000"/>
              <a:gd name="connsiteX2" fmla="*/ 8070258 w 9454896"/>
              <a:gd name="connsiteY2" fmla="*/ 86190 h 6858000"/>
              <a:gd name="connsiteX3" fmla="*/ 9454896 w 9454896"/>
              <a:gd name="connsiteY3" fmla="*/ 3429000 h 6858000"/>
              <a:gd name="connsiteX4" fmla="*/ 8070258 w 9454896"/>
              <a:gd name="connsiteY4" fmla="*/ 6771811 h 6858000"/>
              <a:gd name="connsiteX5" fmla="*/ 7979857 w 9454896"/>
              <a:gd name="connsiteY5" fmla="*/ 6858000 h 6858000"/>
              <a:gd name="connsiteX6" fmla="*/ 1475039 w 9454896"/>
              <a:gd name="connsiteY6" fmla="*/ 6858000 h 6858000"/>
              <a:gd name="connsiteX7" fmla="*/ 1384638 w 9454896"/>
              <a:gd name="connsiteY7" fmla="*/ 6771811 h 6858000"/>
              <a:gd name="connsiteX8" fmla="*/ 0 w 9454896"/>
              <a:gd name="connsiteY8" fmla="*/ 3429000 h 6858000"/>
              <a:gd name="connsiteX9" fmla="*/ 1384638 w 9454896"/>
              <a:gd name="connsiteY9" fmla="*/ 8619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454896" h="6858000">
                <a:moveTo>
                  <a:pt x="1475039" y="0"/>
                </a:moveTo>
                <a:lnTo>
                  <a:pt x="7979857" y="0"/>
                </a:lnTo>
                <a:lnTo>
                  <a:pt x="8070258" y="86190"/>
                </a:lnTo>
                <a:cubicBezTo>
                  <a:pt x="8925758" y="941690"/>
                  <a:pt x="9454896" y="2123552"/>
                  <a:pt x="9454896" y="3429000"/>
                </a:cubicBezTo>
                <a:cubicBezTo>
                  <a:pt x="9454896" y="4734449"/>
                  <a:pt x="8925758" y="5916311"/>
                  <a:pt x="8070258" y="6771811"/>
                </a:cubicBezTo>
                <a:lnTo>
                  <a:pt x="7979857" y="6858000"/>
                </a:lnTo>
                <a:lnTo>
                  <a:pt x="1475039" y="6858000"/>
                </a:lnTo>
                <a:lnTo>
                  <a:pt x="1384638" y="6771811"/>
                </a:lnTo>
                <a:cubicBezTo>
                  <a:pt x="529138" y="5916311"/>
                  <a:pt x="0" y="4734449"/>
                  <a:pt x="0" y="3429000"/>
                </a:cubicBezTo>
                <a:cubicBezTo>
                  <a:pt x="0" y="2123552"/>
                  <a:pt x="529138" y="941690"/>
                  <a:pt x="1384638" y="86190"/>
                </a:cubicBez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dirty="0">
              <a:sym typeface="Proxima Nova Light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7E50BA-27C6-47D2-8515-4845557F9C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5200" y="2176780"/>
            <a:ext cx="5181600" cy="250444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 Not Use">
    <p:bg>
      <p:bgPr>
        <a:solidFill>
          <a:srgbClr val="FC931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712D05C3-B4E4-435F-A620-EDB17198F734}"/>
              </a:ext>
            </a:extLst>
          </p:cNvPr>
          <p:cNvSpPr txBox="1">
            <a:spLocks/>
          </p:cNvSpPr>
          <p:nvPr userDrawn="1"/>
        </p:nvSpPr>
        <p:spPr>
          <a:xfrm>
            <a:off x="838200" y="2587724"/>
            <a:ext cx="10515600" cy="1716419"/>
          </a:xfrm>
          <a:prstGeom prst="rect">
            <a:avLst/>
          </a:prstGeom>
        </p:spPr>
        <p:txBody>
          <a:bodyPr vert="horz" lIns="0" tIns="121920" rIns="0" bIns="0" rtlCol="0" anchor="ctr">
            <a:noAutofit/>
          </a:bodyPr>
          <a:lstStyle>
            <a:lvl1pPr algn="ctr" defTabSz="685800" rtl="0" eaLnBrk="0" fontAlgn="base" hangingPunct="0">
              <a:lnSpc>
                <a:spcPct val="68000"/>
              </a:lnSpc>
              <a:spcBef>
                <a:spcPct val="0"/>
              </a:spcBef>
              <a:spcAft>
                <a:spcPct val="0"/>
              </a:spcAft>
              <a:defRPr kumimoji="0" lang="en-US" sz="3200" b="1" i="0" u="none" strike="noStrike" kern="1200" cap="all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1714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3429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5143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6858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 sz="4267" dirty="0"/>
              <a:t>any masters that appear after this warning are </a:t>
            </a:r>
            <a:r>
              <a:rPr lang="en-US" sz="4267" dirty="0">
                <a:solidFill>
                  <a:srgbClr val="CD0000"/>
                </a:solidFill>
              </a:rPr>
              <a:t>rogue layouts </a:t>
            </a:r>
            <a:r>
              <a:rPr lang="en-US" sz="4267" dirty="0">
                <a:solidFill>
                  <a:srgbClr val="F9451B"/>
                </a:solidFill>
              </a:rPr>
              <a:t/>
            </a:r>
            <a:br>
              <a:rPr lang="en-US" sz="4267" dirty="0">
                <a:solidFill>
                  <a:srgbClr val="F9451B"/>
                </a:solidFill>
              </a:rPr>
            </a:br>
            <a:r>
              <a:rPr lang="en-US" sz="4267" dirty="0"/>
              <a:t>and should be deleted</a:t>
            </a:r>
          </a:p>
        </p:txBody>
      </p:sp>
      <p:sp>
        <p:nvSpPr>
          <p:cNvPr id="8" name="Freeform 11">
            <a:extLst>
              <a:ext uri="{FF2B5EF4-FFF2-40B4-BE49-F238E27FC236}">
                <a16:creationId xmlns:a16="http://schemas.microsoft.com/office/drawing/2014/main" id="{5525B98F-982E-4377-912F-012B18901CDD}"/>
              </a:ext>
            </a:extLst>
          </p:cNvPr>
          <p:cNvSpPr>
            <a:spLocks/>
          </p:cNvSpPr>
          <p:nvPr userDrawn="1"/>
        </p:nvSpPr>
        <p:spPr bwMode="invGray">
          <a:xfrm rot="10800000">
            <a:off x="5815727" y="4750775"/>
            <a:ext cx="558432" cy="411210"/>
          </a:xfrm>
          <a:custGeom>
            <a:avLst/>
            <a:gdLst>
              <a:gd name="T0" fmla="*/ 14 w 237"/>
              <a:gd name="T1" fmla="*/ 195 h 197"/>
              <a:gd name="T2" fmla="*/ 8 w 237"/>
              <a:gd name="T3" fmla="*/ 194 h 197"/>
              <a:gd name="T4" fmla="*/ 3 w 237"/>
              <a:gd name="T5" fmla="*/ 177 h 197"/>
              <a:gd name="T6" fmla="*/ 99 w 237"/>
              <a:gd name="T7" fmla="*/ 12 h 197"/>
              <a:gd name="T8" fmla="*/ 119 w 237"/>
              <a:gd name="T9" fmla="*/ 0 h 197"/>
              <a:gd name="T10" fmla="*/ 138 w 237"/>
              <a:gd name="T11" fmla="*/ 12 h 197"/>
              <a:gd name="T12" fmla="*/ 234 w 237"/>
              <a:gd name="T13" fmla="*/ 177 h 197"/>
              <a:gd name="T14" fmla="*/ 230 w 237"/>
              <a:gd name="T15" fmla="*/ 194 h 197"/>
              <a:gd name="T16" fmla="*/ 213 w 237"/>
              <a:gd name="T17" fmla="*/ 189 h 197"/>
              <a:gd name="T18" fmla="*/ 119 w 237"/>
              <a:gd name="T19" fmla="*/ 26 h 197"/>
              <a:gd name="T20" fmla="*/ 24 w 237"/>
              <a:gd name="T21" fmla="*/ 189 h 197"/>
              <a:gd name="T22" fmla="*/ 14 w 237"/>
              <a:gd name="T23" fmla="*/ 195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7" h="197">
                <a:moveTo>
                  <a:pt x="14" y="195"/>
                </a:moveTo>
                <a:cubicBezTo>
                  <a:pt x="12" y="195"/>
                  <a:pt x="10" y="195"/>
                  <a:pt x="8" y="194"/>
                </a:cubicBezTo>
                <a:cubicBezTo>
                  <a:pt x="2" y="191"/>
                  <a:pt x="0" y="183"/>
                  <a:pt x="3" y="177"/>
                </a:cubicBezTo>
                <a:cubicBezTo>
                  <a:pt x="99" y="12"/>
                  <a:pt x="99" y="12"/>
                  <a:pt x="99" y="12"/>
                </a:cubicBezTo>
                <a:cubicBezTo>
                  <a:pt x="103" y="4"/>
                  <a:pt x="111" y="0"/>
                  <a:pt x="119" y="0"/>
                </a:cubicBezTo>
                <a:cubicBezTo>
                  <a:pt x="127" y="0"/>
                  <a:pt x="134" y="4"/>
                  <a:pt x="138" y="12"/>
                </a:cubicBezTo>
                <a:cubicBezTo>
                  <a:pt x="234" y="177"/>
                  <a:pt x="234" y="177"/>
                  <a:pt x="234" y="177"/>
                </a:cubicBezTo>
                <a:cubicBezTo>
                  <a:pt x="237" y="183"/>
                  <a:pt x="235" y="191"/>
                  <a:pt x="230" y="194"/>
                </a:cubicBezTo>
                <a:cubicBezTo>
                  <a:pt x="224" y="197"/>
                  <a:pt x="217" y="195"/>
                  <a:pt x="213" y="189"/>
                </a:cubicBezTo>
                <a:cubicBezTo>
                  <a:pt x="119" y="26"/>
                  <a:pt x="119" y="26"/>
                  <a:pt x="119" y="26"/>
                </a:cubicBezTo>
                <a:cubicBezTo>
                  <a:pt x="24" y="189"/>
                  <a:pt x="24" y="189"/>
                  <a:pt x="24" y="189"/>
                </a:cubicBezTo>
                <a:cubicBezTo>
                  <a:pt x="22" y="193"/>
                  <a:pt x="18" y="195"/>
                  <a:pt x="14" y="19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BD83303-64DB-4155-A239-5D0D737F0B38}"/>
              </a:ext>
            </a:extLst>
          </p:cNvPr>
          <p:cNvGrpSpPr/>
          <p:nvPr userDrawn="1"/>
        </p:nvGrpSpPr>
        <p:grpSpPr bwMode="black">
          <a:xfrm>
            <a:off x="5655735" y="1357760"/>
            <a:ext cx="880533" cy="783331"/>
            <a:chOff x="5046133" y="896938"/>
            <a:chExt cx="733425" cy="652463"/>
          </a:xfrm>
          <a:solidFill>
            <a:srgbClr val="FFFFFF"/>
          </a:solidFill>
        </p:grpSpPr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F109598A-4181-46AD-B31A-AE565CFA82A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046133" y="896938"/>
              <a:ext cx="733425" cy="652463"/>
            </a:xfrm>
            <a:custGeom>
              <a:avLst/>
              <a:gdLst>
                <a:gd name="T0" fmla="*/ 187 w 374"/>
                <a:gd name="T1" fmla="*/ 24 h 332"/>
                <a:gd name="T2" fmla="*/ 201 w 374"/>
                <a:gd name="T3" fmla="*/ 32 h 332"/>
                <a:gd name="T4" fmla="*/ 346 w 374"/>
                <a:gd name="T5" fmla="*/ 284 h 332"/>
                <a:gd name="T6" fmla="*/ 332 w 374"/>
                <a:gd name="T7" fmla="*/ 308 h 332"/>
                <a:gd name="T8" fmla="*/ 42 w 374"/>
                <a:gd name="T9" fmla="*/ 308 h 332"/>
                <a:gd name="T10" fmla="*/ 28 w 374"/>
                <a:gd name="T11" fmla="*/ 284 h 332"/>
                <a:gd name="T12" fmla="*/ 173 w 374"/>
                <a:gd name="T13" fmla="*/ 32 h 332"/>
                <a:gd name="T14" fmla="*/ 187 w 374"/>
                <a:gd name="T15" fmla="*/ 24 h 332"/>
                <a:gd name="T16" fmla="*/ 187 w 374"/>
                <a:gd name="T17" fmla="*/ 0 h 332"/>
                <a:gd name="T18" fmla="*/ 152 w 374"/>
                <a:gd name="T19" fmla="*/ 20 h 332"/>
                <a:gd name="T20" fmla="*/ 7 w 374"/>
                <a:gd name="T21" fmla="*/ 272 h 332"/>
                <a:gd name="T22" fmla="*/ 7 w 374"/>
                <a:gd name="T23" fmla="*/ 312 h 332"/>
                <a:gd name="T24" fmla="*/ 42 w 374"/>
                <a:gd name="T25" fmla="*/ 332 h 332"/>
                <a:gd name="T26" fmla="*/ 332 w 374"/>
                <a:gd name="T27" fmla="*/ 332 h 332"/>
                <a:gd name="T28" fmla="*/ 367 w 374"/>
                <a:gd name="T29" fmla="*/ 312 h 332"/>
                <a:gd name="T30" fmla="*/ 367 w 374"/>
                <a:gd name="T31" fmla="*/ 272 h 332"/>
                <a:gd name="T32" fmla="*/ 222 w 374"/>
                <a:gd name="T33" fmla="*/ 20 h 332"/>
                <a:gd name="T34" fmla="*/ 187 w 374"/>
                <a:gd name="T35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4" h="332">
                  <a:moveTo>
                    <a:pt x="187" y="24"/>
                  </a:moveTo>
                  <a:cubicBezTo>
                    <a:pt x="192" y="24"/>
                    <a:pt x="198" y="27"/>
                    <a:pt x="201" y="32"/>
                  </a:cubicBezTo>
                  <a:cubicBezTo>
                    <a:pt x="346" y="284"/>
                    <a:pt x="346" y="284"/>
                    <a:pt x="346" y="284"/>
                  </a:cubicBezTo>
                  <a:cubicBezTo>
                    <a:pt x="352" y="294"/>
                    <a:pt x="344" y="308"/>
                    <a:pt x="332" y="308"/>
                  </a:cubicBezTo>
                  <a:cubicBezTo>
                    <a:pt x="42" y="308"/>
                    <a:pt x="42" y="308"/>
                    <a:pt x="42" y="308"/>
                  </a:cubicBezTo>
                  <a:cubicBezTo>
                    <a:pt x="29" y="308"/>
                    <a:pt x="21" y="294"/>
                    <a:pt x="28" y="284"/>
                  </a:cubicBezTo>
                  <a:cubicBezTo>
                    <a:pt x="173" y="32"/>
                    <a:pt x="173" y="32"/>
                    <a:pt x="173" y="32"/>
                  </a:cubicBezTo>
                  <a:cubicBezTo>
                    <a:pt x="176" y="27"/>
                    <a:pt x="181" y="24"/>
                    <a:pt x="187" y="24"/>
                  </a:cubicBezTo>
                  <a:moveTo>
                    <a:pt x="187" y="0"/>
                  </a:moveTo>
                  <a:cubicBezTo>
                    <a:pt x="172" y="0"/>
                    <a:pt x="159" y="8"/>
                    <a:pt x="152" y="20"/>
                  </a:cubicBezTo>
                  <a:cubicBezTo>
                    <a:pt x="7" y="272"/>
                    <a:pt x="7" y="272"/>
                    <a:pt x="7" y="272"/>
                  </a:cubicBezTo>
                  <a:cubicBezTo>
                    <a:pt x="0" y="284"/>
                    <a:pt x="0" y="299"/>
                    <a:pt x="7" y="312"/>
                  </a:cubicBezTo>
                  <a:cubicBezTo>
                    <a:pt x="14" y="324"/>
                    <a:pt x="27" y="332"/>
                    <a:pt x="42" y="332"/>
                  </a:cubicBezTo>
                  <a:cubicBezTo>
                    <a:pt x="332" y="332"/>
                    <a:pt x="332" y="332"/>
                    <a:pt x="332" y="332"/>
                  </a:cubicBezTo>
                  <a:cubicBezTo>
                    <a:pt x="346" y="332"/>
                    <a:pt x="359" y="324"/>
                    <a:pt x="367" y="312"/>
                  </a:cubicBezTo>
                  <a:cubicBezTo>
                    <a:pt x="374" y="299"/>
                    <a:pt x="374" y="284"/>
                    <a:pt x="367" y="272"/>
                  </a:cubicBezTo>
                  <a:cubicBezTo>
                    <a:pt x="222" y="20"/>
                    <a:pt x="222" y="20"/>
                    <a:pt x="222" y="20"/>
                  </a:cubicBezTo>
                  <a:cubicBezTo>
                    <a:pt x="214" y="8"/>
                    <a:pt x="201" y="0"/>
                    <a:pt x="1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5E0C7EED-60F5-4F6C-91A7-D4CFB8BCAED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381096" y="1139826"/>
              <a:ext cx="61913" cy="261938"/>
            </a:xfrm>
            <a:custGeom>
              <a:avLst/>
              <a:gdLst>
                <a:gd name="T0" fmla="*/ 16 w 32"/>
                <a:gd name="T1" fmla="*/ 101 h 133"/>
                <a:gd name="T2" fmla="*/ 32 w 32"/>
                <a:gd name="T3" fmla="*/ 117 h 133"/>
                <a:gd name="T4" fmla="*/ 16 w 32"/>
                <a:gd name="T5" fmla="*/ 133 h 133"/>
                <a:gd name="T6" fmla="*/ 0 w 32"/>
                <a:gd name="T7" fmla="*/ 117 h 133"/>
                <a:gd name="T8" fmla="*/ 16 w 32"/>
                <a:gd name="T9" fmla="*/ 101 h 133"/>
                <a:gd name="T10" fmla="*/ 1 w 32"/>
                <a:gd name="T11" fmla="*/ 0 h 133"/>
                <a:gd name="T12" fmla="*/ 31 w 32"/>
                <a:gd name="T13" fmla="*/ 0 h 133"/>
                <a:gd name="T14" fmla="*/ 27 w 32"/>
                <a:gd name="T15" fmla="*/ 88 h 133"/>
                <a:gd name="T16" fmla="*/ 5 w 32"/>
                <a:gd name="T17" fmla="*/ 88 h 133"/>
                <a:gd name="T18" fmla="*/ 1 w 32"/>
                <a:gd name="T19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133">
                  <a:moveTo>
                    <a:pt x="16" y="101"/>
                  </a:moveTo>
                  <a:cubicBezTo>
                    <a:pt x="24" y="101"/>
                    <a:pt x="32" y="108"/>
                    <a:pt x="32" y="117"/>
                  </a:cubicBezTo>
                  <a:cubicBezTo>
                    <a:pt x="32" y="125"/>
                    <a:pt x="24" y="133"/>
                    <a:pt x="16" y="133"/>
                  </a:cubicBezTo>
                  <a:cubicBezTo>
                    <a:pt x="7" y="133"/>
                    <a:pt x="0" y="125"/>
                    <a:pt x="0" y="117"/>
                  </a:cubicBezTo>
                  <a:cubicBezTo>
                    <a:pt x="0" y="108"/>
                    <a:pt x="7" y="101"/>
                    <a:pt x="16" y="101"/>
                  </a:cubicBezTo>
                  <a:close/>
                  <a:moveTo>
                    <a:pt x="1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27" y="88"/>
                    <a:pt x="27" y="88"/>
                    <a:pt x="27" y="88"/>
                  </a:cubicBezTo>
                  <a:cubicBezTo>
                    <a:pt x="5" y="88"/>
                    <a:pt x="5" y="88"/>
                    <a:pt x="5" y="88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453273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(with Photo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1CAC31CE-8829-4BF7-A0EF-D09EA19BBD99}"/>
              </a:ext>
            </a:extLst>
          </p:cNvPr>
          <p:cNvSpPr>
            <a:spLocks/>
          </p:cNvSpPr>
          <p:nvPr userDrawn="1"/>
        </p:nvSpPr>
        <p:spPr bwMode="ltGray">
          <a:xfrm>
            <a:off x="6565900" y="0"/>
            <a:ext cx="5626100" cy="6859358"/>
          </a:xfrm>
          <a:custGeom>
            <a:avLst/>
            <a:gdLst>
              <a:gd name="T0" fmla="*/ 1212 w 1212"/>
              <a:gd name="T1" fmla="*/ 1011 h 1484"/>
              <a:gd name="T2" fmla="*/ 872 w 1212"/>
              <a:gd name="T3" fmla="*/ 1178 h 1484"/>
              <a:gd name="T4" fmla="*/ 442 w 1212"/>
              <a:gd name="T5" fmla="*/ 748 h 1484"/>
              <a:gd name="T6" fmla="*/ 872 w 1212"/>
              <a:gd name="T7" fmla="*/ 318 h 1484"/>
              <a:gd name="T8" fmla="*/ 1212 w 1212"/>
              <a:gd name="T9" fmla="*/ 485 h 1484"/>
              <a:gd name="T10" fmla="*/ 1212 w 1212"/>
              <a:gd name="T11" fmla="*/ 0 h 1484"/>
              <a:gd name="T12" fmla="*/ 424 w 1212"/>
              <a:gd name="T13" fmla="*/ 0 h 1484"/>
              <a:gd name="T14" fmla="*/ 0 w 1212"/>
              <a:gd name="T15" fmla="*/ 748 h 1484"/>
              <a:gd name="T16" fmla="*/ 404 w 1212"/>
              <a:gd name="T17" fmla="*/ 1484 h 1484"/>
              <a:gd name="T18" fmla="*/ 1212 w 1212"/>
              <a:gd name="T19" fmla="*/ 1484 h 1484"/>
              <a:gd name="T20" fmla="*/ 1212 w 1212"/>
              <a:gd name="T21" fmla="*/ 1011 h 1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12" h="1484">
                <a:moveTo>
                  <a:pt x="1212" y="1011"/>
                </a:moveTo>
                <a:cubicBezTo>
                  <a:pt x="1133" y="1113"/>
                  <a:pt x="1010" y="1178"/>
                  <a:pt x="872" y="1178"/>
                </a:cubicBezTo>
                <a:cubicBezTo>
                  <a:pt x="635" y="1178"/>
                  <a:pt x="442" y="985"/>
                  <a:pt x="442" y="748"/>
                </a:cubicBezTo>
                <a:cubicBezTo>
                  <a:pt x="442" y="511"/>
                  <a:pt x="635" y="318"/>
                  <a:pt x="872" y="318"/>
                </a:cubicBezTo>
                <a:cubicBezTo>
                  <a:pt x="1010" y="318"/>
                  <a:pt x="1133" y="383"/>
                  <a:pt x="1212" y="485"/>
                </a:cubicBezTo>
                <a:cubicBezTo>
                  <a:pt x="1212" y="0"/>
                  <a:pt x="1212" y="0"/>
                  <a:pt x="1212" y="0"/>
                </a:cubicBezTo>
                <a:cubicBezTo>
                  <a:pt x="424" y="0"/>
                  <a:pt x="424" y="0"/>
                  <a:pt x="424" y="0"/>
                </a:cubicBezTo>
                <a:cubicBezTo>
                  <a:pt x="170" y="152"/>
                  <a:pt x="0" y="430"/>
                  <a:pt x="0" y="748"/>
                </a:cubicBezTo>
                <a:cubicBezTo>
                  <a:pt x="0" y="1057"/>
                  <a:pt x="161" y="1329"/>
                  <a:pt x="404" y="1484"/>
                </a:cubicBezTo>
                <a:cubicBezTo>
                  <a:pt x="1212" y="1484"/>
                  <a:pt x="1212" y="1484"/>
                  <a:pt x="1212" y="1484"/>
                </a:cubicBezTo>
                <a:lnTo>
                  <a:pt x="1212" y="1011"/>
                </a:lnTo>
                <a:close/>
              </a:path>
            </a:pathLst>
          </a:custGeom>
          <a:gradFill>
            <a:gsLst>
              <a:gs pos="0">
                <a:srgbClr val="00ADE5"/>
              </a:gs>
              <a:gs pos="100000">
                <a:srgbClr val="00D257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78A08F9-81A3-40B0-B298-A4946C6723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99" y="6051007"/>
            <a:ext cx="955343" cy="320040"/>
          </a:xfrm>
          <a:prstGeom prst="rect">
            <a:avLst/>
          </a:prstGeom>
        </p:spPr>
      </p:pic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238C4C4-F7D6-466A-A81B-4E579A1D88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24903" y="1456265"/>
            <a:ext cx="3567097" cy="3994734"/>
          </a:xfrm>
          <a:custGeom>
            <a:avLst/>
            <a:gdLst>
              <a:gd name="connsiteX0" fmla="*/ 1996236 w 3567097"/>
              <a:gd name="connsiteY0" fmla="*/ 0 h 3994734"/>
              <a:gd name="connsiteX1" fmla="*/ 3536629 w 3567097"/>
              <a:gd name="connsiteY1" fmla="*/ 726856 h 3994734"/>
              <a:gd name="connsiteX2" fmla="*/ 3567097 w 3567097"/>
              <a:gd name="connsiteY2" fmla="*/ 767624 h 3994734"/>
              <a:gd name="connsiteX3" fmla="*/ 3567097 w 3567097"/>
              <a:gd name="connsiteY3" fmla="*/ 3227110 h 3994734"/>
              <a:gd name="connsiteX4" fmla="*/ 3536629 w 3567097"/>
              <a:gd name="connsiteY4" fmla="*/ 3267878 h 3994734"/>
              <a:gd name="connsiteX5" fmla="*/ 1996236 w 3567097"/>
              <a:gd name="connsiteY5" fmla="*/ 3994734 h 3994734"/>
              <a:gd name="connsiteX6" fmla="*/ 0 w 3567097"/>
              <a:gd name="connsiteY6" fmla="*/ 1997367 h 3994734"/>
              <a:gd name="connsiteX7" fmla="*/ 1996236 w 3567097"/>
              <a:gd name="connsiteY7" fmla="*/ 0 h 3994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67097" h="3994734">
                <a:moveTo>
                  <a:pt x="1996236" y="0"/>
                </a:moveTo>
                <a:cubicBezTo>
                  <a:pt x="2616387" y="0"/>
                  <a:pt x="3170490" y="282947"/>
                  <a:pt x="3536629" y="726856"/>
                </a:cubicBezTo>
                <a:lnTo>
                  <a:pt x="3567097" y="767624"/>
                </a:lnTo>
                <a:lnTo>
                  <a:pt x="3567097" y="3227110"/>
                </a:lnTo>
                <a:lnTo>
                  <a:pt x="3536629" y="3267878"/>
                </a:lnTo>
                <a:cubicBezTo>
                  <a:pt x="3170490" y="3711787"/>
                  <a:pt x="2616387" y="3994734"/>
                  <a:pt x="1996236" y="3994734"/>
                </a:cubicBezTo>
                <a:cubicBezTo>
                  <a:pt x="893745" y="3994734"/>
                  <a:pt x="0" y="3100482"/>
                  <a:pt x="0" y="1997367"/>
                </a:cubicBezTo>
                <a:cubicBezTo>
                  <a:pt x="0" y="894252"/>
                  <a:pt x="893745" y="0"/>
                  <a:pt x="1996236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FA711328-EBF9-499E-BC02-E87673C3B6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324262"/>
            <a:ext cx="5536887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50348B5-3F95-4960-B99C-D51F6A237F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512047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(for Printing)">
    <p:bg bwMode="ltGray">
      <p:bgPr>
        <a:gradFill>
          <a:gsLst>
            <a:gs pos="32000">
              <a:srgbClr val="009AE0"/>
            </a:gs>
            <a:gs pos="52000">
              <a:srgbClr val="009AE0"/>
            </a:gs>
            <a:gs pos="100000">
              <a:srgbClr val="00A846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/>
        </p:nvSpPr>
        <p:spPr bwMode="white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706FDC6-3AEF-4F15-8624-DF19A27FD1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387222" y="462622"/>
            <a:ext cx="1312590" cy="439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161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(On-Screen Only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/>
        </p:nvSpPr>
        <p:spPr bwMode="ltGray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white">
          <a:xfrm>
            <a:off x="512438" y="4554950"/>
            <a:ext cx="5518225" cy="7541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rgbClr val="FFFFFF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C60165E-88CB-4C4F-8D10-AE6F48290A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87222" y="462622"/>
            <a:ext cx="1312590" cy="439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039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Option B (with Photo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1CAC31CE-8829-4BF7-A0EF-D09EA19BBD99}"/>
              </a:ext>
            </a:extLst>
          </p:cNvPr>
          <p:cNvSpPr>
            <a:spLocks/>
          </p:cNvSpPr>
          <p:nvPr/>
        </p:nvSpPr>
        <p:spPr bwMode="ltGray">
          <a:xfrm>
            <a:off x="6565900" y="0"/>
            <a:ext cx="5626100" cy="6859358"/>
          </a:xfrm>
          <a:custGeom>
            <a:avLst/>
            <a:gdLst>
              <a:gd name="T0" fmla="*/ 1212 w 1212"/>
              <a:gd name="T1" fmla="*/ 1011 h 1484"/>
              <a:gd name="T2" fmla="*/ 872 w 1212"/>
              <a:gd name="T3" fmla="*/ 1178 h 1484"/>
              <a:gd name="T4" fmla="*/ 442 w 1212"/>
              <a:gd name="T5" fmla="*/ 748 h 1484"/>
              <a:gd name="T6" fmla="*/ 872 w 1212"/>
              <a:gd name="T7" fmla="*/ 318 h 1484"/>
              <a:gd name="T8" fmla="*/ 1212 w 1212"/>
              <a:gd name="T9" fmla="*/ 485 h 1484"/>
              <a:gd name="T10" fmla="*/ 1212 w 1212"/>
              <a:gd name="T11" fmla="*/ 0 h 1484"/>
              <a:gd name="T12" fmla="*/ 424 w 1212"/>
              <a:gd name="T13" fmla="*/ 0 h 1484"/>
              <a:gd name="T14" fmla="*/ 0 w 1212"/>
              <a:gd name="T15" fmla="*/ 748 h 1484"/>
              <a:gd name="T16" fmla="*/ 404 w 1212"/>
              <a:gd name="T17" fmla="*/ 1484 h 1484"/>
              <a:gd name="T18" fmla="*/ 1212 w 1212"/>
              <a:gd name="T19" fmla="*/ 1484 h 1484"/>
              <a:gd name="T20" fmla="*/ 1212 w 1212"/>
              <a:gd name="T21" fmla="*/ 1011 h 1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12" h="1484">
                <a:moveTo>
                  <a:pt x="1212" y="1011"/>
                </a:moveTo>
                <a:cubicBezTo>
                  <a:pt x="1133" y="1113"/>
                  <a:pt x="1010" y="1178"/>
                  <a:pt x="872" y="1178"/>
                </a:cubicBezTo>
                <a:cubicBezTo>
                  <a:pt x="635" y="1178"/>
                  <a:pt x="442" y="985"/>
                  <a:pt x="442" y="748"/>
                </a:cubicBezTo>
                <a:cubicBezTo>
                  <a:pt x="442" y="511"/>
                  <a:pt x="635" y="318"/>
                  <a:pt x="872" y="318"/>
                </a:cubicBezTo>
                <a:cubicBezTo>
                  <a:pt x="1010" y="318"/>
                  <a:pt x="1133" y="383"/>
                  <a:pt x="1212" y="485"/>
                </a:cubicBezTo>
                <a:cubicBezTo>
                  <a:pt x="1212" y="0"/>
                  <a:pt x="1212" y="0"/>
                  <a:pt x="1212" y="0"/>
                </a:cubicBezTo>
                <a:cubicBezTo>
                  <a:pt x="424" y="0"/>
                  <a:pt x="424" y="0"/>
                  <a:pt x="424" y="0"/>
                </a:cubicBezTo>
                <a:cubicBezTo>
                  <a:pt x="170" y="152"/>
                  <a:pt x="0" y="430"/>
                  <a:pt x="0" y="748"/>
                </a:cubicBezTo>
                <a:cubicBezTo>
                  <a:pt x="0" y="1057"/>
                  <a:pt x="161" y="1329"/>
                  <a:pt x="404" y="1484"/>
                </a:cubicBezTo>
                <a:cubicBezTo>
                  <a:pt x="1212" y="1484"/>
                  <a:pt x="1212" y="1484"/>
                  <a:pt x="1212" y="1484"/>
                </a:cubicBezTo>
                <a:lnTo>
                  <a:pt x="1212" y="1011"/>
                </a:ln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238C4C4-F7D6-466A-A81B-4E579A1D88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24903" y="1456265"/>
            <a:ext cx="3567097" cy="3994734"/>
          </a:xfrm>
          <a:custGeom>
            <a:avLst/>
            <a:gdLst>
              <a:gd name="connsiteX0" fmla="*/ 1996236 w 3567097"/>
              <a:gd name="connsiteY0" fmla="*/ 0 h 3994734"/>
              <a:gd name="connsiteX1" fmla="*/ 3536629 w 3567097"/>
              <a:gd name="connsiteY1" fmla="*/ 726856 h 3994734"/>
              <a:gd name="connsiteX2" fmla="*/ 3567097 w 3567097"/>
              <a:gd name="connsiteY2" fmla="*/ 767624 h 3994734"/>
              <a:gd name="connsiteX3" fmla="*/ 3567097 w 3567097"/>
              <a:gd name="connsiteY3" fmla="*/ 3227110 h 3994734"/>
              <a:gd name="connsiteX4" fmla="*/ 3536629 w 3567097"/>
              <a:gd name="connsiteY4" fmla="*/ 3267878 h 3994734"/>
              <a:gd name="connsiteX5" fmla="*/ 1996236 w 3567097"/>
              <a:gd name="connsiteY5" fmla="*/ 3994734 h 3994734"/>
              <a:gd name="connsiteX6" fmla="*/ 0 w 3567097"/>
              <a:gd name="connsiteY6" fmla="*/ 1997367 h 3994734"/>
              <a:gd name="connsiteX7" fmla="*/ 1996236 w 3567097"/>
              <a:gd name="connsiteY7" fmla="*/ 0 h 3994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67097" h="3994734">
                <a:moveTo>
                  <a:pt x="1996236" y="0"/>
                </a:moveTo>
                <a:cubicBezTo>
                  <a:pt x="2616387" y="0"/>
                  <a:pt x="3170490" y="282947"/>
                  <a:pt x="3536629" y="726856"/>
                </a:cubicBezTo>
                <a:lnTo>
                  <a:pt x="3567097" y="767624"/>
                </a:lnTo>
                <a:lnTo>
                  <a:pt x="3567097" y="3227110"/>
                </a:lnTo>
                <a:lnTo>
                  <a:pt x="3536629" y="3267878"/>
                </a:lnTo>
                <a:cubicBezTo>
                  <a:pt x="3170490" y="3711787"/>
                  <a:pt x="2616387" y="3994734"/>
                  <a:pt x="1996236" y="3994734"/>
                </a:cubicBezTo>
                <a:cubicBezTo>
                  <a:pt x="893745" y="3994734"/>
                  <a:pt x="0" y="3100482"/>
                  <a:pt x="0" y="1997367"/>
                </a:cubicBezTo>
                <a:cubicBezTo>
                  <a:pt x="0" y="894252"/>
                  <a:pt x="893745" y="0"/>
                  <a:pt x="1996236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FA711328-EBF9-499E-BC02-E87673C3B6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151986"/>
            <a:ext cx="5536887" cy="1876263"/>
          </a:xfrm>
        </p:spPr>
        <p:txBody>
          <a:bodyPr vert="horz" lIns="0" tIns="182880" rIns="0" bIns="0" rtlCol="0" anchor="b">
            <a:noAutofit/>
          </a:bodyPr>
          <a:lstStyle>
            <a:lvl1pPr>
              <a:defRPr lang="en-US" sz="5400" dirty="0">
                <a:solidFill>
                  <a:schemeClr val="accent1"/>
                </a:solidFill>
                <a:latin typeface="+mn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50348B5-3F95-4960-B99C-D51F6A237F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06625D3-6D99-42FC-9BD2-4FB7B9138D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3499" y="6051007"/>
            <a:ext cx="955343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212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CF28A28-4922-4916-AFC6-845CCE61E5FF}"/>
              </a:ext>
            </a:extLst>
          </p:cNvPr>
          <p:cNvSpPr/>
          <p:nvPr/>
        </p:nvSpPr>
        <p:spPr>
          <a:xfrm>
            <a:off x="0" y="2308250"/>
            <a:ext cx="12192000" cy="2241500"/>
          </a:xfrm>
          <a:prstGeom prst="rect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FEAD26-BB58-4888-8067-7BFE89073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308250"/>
            <a:ext cx="11204448" cy="2241500"/>
          </a:xfrm>
        </p:spPr>
        <p:txBody>
          <a:bodyPr vert="horz" lIns="457200" tIns="0" rIns="457200" bIns="0" rtlCol="0" anchor="ctr">
            <a:noAutofit/>
          </a:bodyPr>
          <a:lstStyle>
            <a:lvl1pPr algn="ctr">
              <a:defRPr lang="en-US" sz="600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F4B4470-AF44-490D-B3D0-FE6FB03B6585}"/>
              </a:ext>
            </a:extLst>
          </p:cNvPr>
          <p:cNvSpPr/>
          <p:nvPr/>
        </p:nvSpPr>
        <p:spPr>
          <a:xfrm>
            <a:off x="132899" y="6218787"/>
            <a:ext cx="11926202" cy="325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7371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4BFCF5BB-9E8B-4217-967B-E69B7177F9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16256" y="1003300"/>
            <a:ext cx="5481968" cy="495300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Bef>
                <a:spcPts val="1200"/>
              </a:spcBef>
              <a:spcAft>
                <a:spcPts val="0"/>
              </a:spcAft>
              <a:defRPr sz="2800" b="1">
                <a:latin typeface="+mj-lt"/>
              </a:defRPr>
            </a:lvl1pPr>
            <a:lvl2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800" b="1">
                <a:solidFill>
                  <a:schemeClr val="accent1"/>
                </a:solidFill>
              </a:defRPr>
            </a:lvl2pPr>
            <a:lvl3pPr marL="228600" indent="-22860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80000"/>
              <a:buFont typeface="Arial" panose="020B0604020202020204" pitchFamily="34" charset="0"/>
              <a:buChar char="•"/>
              <a:defRPr sz="2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401638" indent="-173038">
              <a:buFont typeface="Arial" panose="020B0604020202020204" pitchFamily="34" charset="0"/>
              <a:buChar char="̵"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000"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662846C-0294-4C31-A1AF-8DE92524D15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B233E9D7-7A6D-4859-8727-AD3BE12D4773}"/>
              </a:ext>
            </a:extLst>
          </p:cNvPr>
          <p:cNvSpPr txBox="1">
            <a:spLocks/>
          </p:cNvSpPr>
          <p:nvPr/>
        </p:nvSpPr>
        <p:spPr>
          <a:xfrm>
            <a:off x="645898" y="1694088"/>
            <a:ext cx="5647028" cy="17426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228594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457189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685783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914377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 dirty="0"/>
              <a:t>Agenda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9E10F5BB-8BA0-4329-B8A2-D24501D14D4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AFE4B87-AB83-4304-BBDA-6963838CE43E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0315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A58EC3-CBBE-40C6-BACD-B91C5DEB98D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9B1E174-6AB6-4FB5-9BF5-AB5031CB1BF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4122364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321711"/>
            <a:ext cx="11204448" cy="4854722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2E0346-B328-429D-9C68-41755BD260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C4681B6-8BF4-4456-8C80-C5E766998CA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F71271-2672-48F6-BC19-53395FF7C065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3558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B (with Photo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41201FA-5DBA-4DE0-B906-E28ACF9BC7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3862" y="6024584"/>
            <a:ext cx="996696" cy="368778"/>
          </a:xfrm>
          <a:prstGeom prst="rect">
            <a:avLst/>
          </a:prstGeom>
        </p:spPr>
      </p:pic>
      <p:sp>
        <p:nvSpPr>
          <p:cNvPr id="6" name="Freeform 5">
            <a:extLst>
              <a:ext uri="{FF2B5EF4-FFF2-40B4-BE49-F238E27FC236}">
                <a16:creationId xmlns:a16="http://schemas.microsoft.com/office/drawing/2014/main" id="{1CAC31CE-8829-4BF7-A0EF-D09EA19BBD99}"/>
              </a:ext>
            </a:extLst>
          </p:cNvPr>
          <p:cNvSpPr>
            <a:spLocks/>
          </p:cNvSpPr>
          <p:nvPr userDrawn="1"/>
        </p:nvSpPr>
        <p:spPr bwMode="ltGray">
          <a:xfrm>
            <a:off x="6565900" y="0"/>
            <a:ext cx="5626100" cy="6859358"/>
          </a:xfrm>
          <a:custGeom>
            <a:avLst/>
            <a:gdLst>
              <a:gd name="T0" fmla="*/ 1212 w 1212"/>
              <a:gd name="T1" fmla="*/ 1011 h 1484"/>
              <a:gd name="T2" fmla="*/ 872 w 1212"/>
              <a:gd name="T3" fmla="*/ 1178 h 1484"/>
              <a:gd name="T4" fmla="*/ 442 w 1212"/>
              <a:gd name="T5" fmla="*/ 748 h 1484"/>
              <a:gd name="T6" fmla="*/ 872 w 1212"/>
              <a:gd name="T7" fmla="*/ 318 h 1484"/>
              <a:gd name="T8" fmla="*/ 1212 w 1212"/>
              <a:gd name="T9" fmla="*/ 485 h 1484"/>
              <a:gd name="T10" fmla="*/ 1212 w 1212"/>
              <a:gd name="T11" fmla="*/ 0 h 1484"/>
              <a:gd name="T12" fmla="*/ 424 w 1212"/>
              <a:gd name="T13" fmla="*/ 0 h 1484"/>
              <a:gd name="T14" fmla="*/ 0 w 1212"/>
              <a:gd name="T15" fmla="*/ 748 h 1484"/>
              <a:gd name="T16" fmla="*/ 404 w 1212"/>
              <a:gd name="T17" fmla="*/ 1484 h 1484"/>
              <a:gd name="T18" fmla="*/ 1212 w 1212"/>
              <a:gd name="T19" fmla="*/ 1484 h 1484"/>
              <a:gd name="T20" fmla="*/ 1212 w 1212"/>
              <a:gd name="T21" fmla="*/ 1011 h 1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12" h="1484">
                <a:moveTo>
                  <a:pt x="1212" y="1011"/>
                </a:moveTo>
                <a:cubicBezTo>
                  <a:pt x="1133" y="1113"/>
                  <a:pt x="1010" y="1178"/>
                  <a:pt x="872" y="1178"/>
                </a:cubicBezTo>
                <a:cubicBezTo>
                  <a:pt x="635" y="1178"/>
                  <a:pt x="442" y="985"/>
                  <a:pt x="442" y="748"/>
                </a:cubicBezTo>
                <a:cubicBezTo>
                  <a:pt x="442" y="511"/>
                  <a:pt x="635" y="318"/>
                  <a:pt x="872" y="318"/>
                </a:cubicBezTo>
                <a:cubicBezTo>
                  <a:pt x="1010" y="318"/>
                  <a:pt x="1133" y="383"/>
                  <a:pt x="1212" y="485"/>
                </a:cubicBezTo>
                <a:cubicBezTo>
                  <a:pt x="1212" y="0"/>
                  <a:pt x="1212" y="0"/>
                  <a:pt x="1212" y="0"/>
                </a:cubicBezTo>
                <a:cubicBezTo>
                  <a:pt x="424" y="0"/>
                  <a:pt x="424" y="0"/>
                  <a:pt x="424" y="0"/>
                </a:cubicBezTo>
                <a:cubicBezTo>
                  <a:pt x="170" y="152"/>
                  <a:pt x="0" y="430"/>
                  <a:pt x="0" y="748"/>
                </a:cubicBezTo>
                <a:cubicBezTo>
                  <a:pt x="0" y="1057"/>
                  <a:pt x="161" y="1329"/>
                  <a:pt x="404" y="1484"/>
                </a:cubicBezTo>
                <a:cubicBezTo>
                  <a:pt x="1212" y="1484"/>
                  <a:pt x="1212" y="1484"/>
                  <a:pt x="1212" y="1484"/>
                </a:cubicBezTo>
                <a:lnTo>
                  <a:pt x="1212" y="1011"/>
                </a:ln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238C4C4-F7D6-466A-A81B-4E579A1D88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24903" y="1456265"/>
            <a:ext cx="3567097" cy="3994734"/>
          </a:xfrm>
          <a:custGeom>
            <a:avLst/>
            <a:gdLst>
              <a:gd name="connsiteX0" fmla="*/ 1996236 w 3567097"/>
              <a:gd name="connsiteY0" fmla="*/ 0 h 3994734"/>
              <a:gd name="connsiteX1" fmla="*/ 3536629 w 3567097"/>
              <a:gd name="connsiteY1" fmla="*/ 726856 h 3994734"/>
              <a:gd name="connsiteX2" fmla="*/ 3567097 w 3567097"/>
              <a:gd name="connsiteY2" fmla="*/ 767624 h 3994734"/>
              <a:gd name="connsiteX3" fmla="*/ 3567097 w 3567097"/>
              <a:gd name="connsiteY3" fmla="*/ 3227110 h 3994734"/>
              <a:gd name="connsiteX4" fmla="*/ 3536629 w 3567097"/>
              <a:gd name="connsiteY4" fmla="*/ 3267878 h 3994734"/>
              <a:gd name="connsiteX5" fmla="*/ 1996236 w 3567097"/>
              <a:gd name="connsiteY5" fmla="*/ 3994734 h 3994734"/>
              <a:gd name="connsiteX6" fmla="*/ 0 w 3567097"/>
              <a:gd name="connsiteY6" fmla="*/ 1997367 h 3994734"/>
              <a:gd name="connsiteX7" fmla="*/ 1996236 w 3567097"/>
              <a:gd name="connsiteY7" fmla="*/ 0 h 3994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67097" h="3994734">
                <a:moveTo>
                  <a:pt x="1996236" y="0"/>
                </a:moveTo>
                <a:cubicBezTo>
                  <a:pt x="2616387" y="0"/>
                  <a:pt x="3170490" y="282947"/>
                  <a:pt x="3536629" y="726856"/>
                </a:cubicBezTo>
                <a:lnTo>
                  <a:pt x="3567097" y="767624"/>
                </a:lnTo>
                <a:lnTo>
                  <a:pt x="3567097" y="3227110"/>
                </a:lnTo>
                <a:lnTo>
                  <a:pt x="3536629" y="3267878"/>
                </a:lnTo>
                <a:cubicBezTo>
                  <a:pt x="3170490" y="3711787"/>
                  <a:pt x="2616387" y="3994734"/>
                  <a:pt x="1996236" y="3994734"/>
                </a:cubicBezTo>
                <a:cubicBezTo>
                  <a:pt x="893745" y="3994734"/>
                  <a:pt x="0" y="3100482"/>
                  <a:pt x="0" y="1997367"/>
                </a:cubicBezTo>
                <a:cubicBezTo>
                  <a:pt x="0" y="894252"/>
                  <a:pt x="893745" y="0"/>
                  <a:pt x="1996236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FA711328-EBF9-499E-BC02-E87673C3B6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151986"/>
            <a:ext cx="5536887" cy="1876263"/>
          </a:xfrm>
        </p:spPr>
        <p:txBody>
          <a:bodyPr vert="horz" lIns="0" tIns="182880" rIns="0" bIns="0" rtlCol="0" anchor="b">
            <a:noAutofit/>
          </a:bodyPr>
          <a:lstStyle>
            <a:lvl1pPr>
              <a:defRPr lang="en-US" sz="5400" dirty="0">
                <a:solidFill>
                  <a:schemeClr val="accent1"/>
                </a:solidFill>
                <a:latin typeface="+mn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50348B5-3F95-4960-B99C-D51F6A237F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567467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 with Subtitle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871133"/>
            <a:ext cx="11204448" cy="4305300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2E0346-B328-429D-9C68-41755BD260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64B0CAA-EEE3-4C6E-B655-8905CBF48B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93776" y="1087026"/>
            <a:ext cx="11204448" cy="418570"/>
          </a:xfrm>
        </p:spPr>
        <p:txBody>
          <a:bodyPr anchor="t"/>
          <a:lstStyle>
            <a:lvl1pPr marL="0" indent="0">
              <a:buNone/>
              <a:defRPr sz="22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holder sub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0BDF31F-F938-4A4D-81AD-32D2EAFABA6D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7B62AD9-91F5-4EE5-9154-949334310311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3457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_No Logo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321711"/>
            <a:ext cx="11204448" cy="4854722"/>
          </a:xfrm>
          <a:prstGeom prst="rect">
            <a:avLst/>
          </a:prstGeom>
        </p:spPr>
        <p:txBody>
          <a:bodyPr tIns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5232D39-0A1A-4BA0-979D-C31433B2E69B}"/>
              </a:ext>
            </a:extLst>
          </p:cNvPr>
          <p:cNvSpPr/>
          <p:nvPr/>
        </p:nvSpPr>
        <p:spPr bwMode="white">
          <a:xfrm>
            <a:off x="0" y="6249122"/>
            <a:ext cx="12192000" cy="604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0169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 (Two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Text Placeholder 14">
            <a:extLst>
              <a:ext uri="{FF2B5EF4-FFF2-40B4-BE49-F238E27FC236}">
                <a16:creationId xmlns:a16="http://schemas.microsoft.com/office/drawing/2014/main" id="{2DA0B400-1FD0-4E71-99C4-0FFC675A0A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16256" y="1321711"/>
            <a:ext cx="5481968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5A309F3-1319-4540-8AC3-1F65844DD0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3775" y="1321711"/>
            <a:ext cx="5481967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B0EDF6-74F5-4BCC-AA48-B7297D5DC9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E264CB-2F28-4218-974F-746E15F9652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9F081E9-D767-4156-81FC-0DF0FA8985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A906660-664F-4E9F-907C-C78FB8B0F8C2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2365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 (Thre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6C341B-649D-4364-8D26-ECF442AABF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93776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3405A70D-A303-4430-BFE3-179FEFFA329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08764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6A4C870-5FB0-40F9-ACBF-B314B714AE1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123752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9AF46D-EC8C-4799-8268-F914B66AC1F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B314EC2-65A0-48A9-A282-73C1FA228D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46686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Weighte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34EAD72-0448-4B6F-86F3-D9B838B95CE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93711" y="1756791"/>
            <a:ext cx="3229589" cy="443204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7" y="642889"/>
            <a:ext cx="320815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EFA500-6C5D-4551-968A-183AAA0CDC6F}"/>
              </a:ext>
            </a:extLst>
          </p:cNvPr>
          <p:cNvCxnSpPr>
            <a:cxnSpLocks/>
          </p:cNvCxnSpPr>
          <p:nvPr/>
        </p:nvCxnSpPr>
        <p:spPr>
          <a:xfrm>
            <a:off x="4308764" y="669163"/>
            <a:ext cx="0" cy="5155563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105E3F98-F8EB-4010-96E1-2DC856BD43CB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029200" y="1322388"/>
            <a:ext cx="6669088" cy="4502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A4781-F335-4997-B2A3-D4ECEB624912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9F99AE6-DDD6-49D1-8CA7-3B040BD0F32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4047624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(Single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8D749E-10F3-468F-A695-20684D44BAB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ltGray">
          <a:xfrm>
            <a:off x="1" y="0"/>
            <a:ext cx="10037025" cy="6858000"/>
          </a:xfrm>
          <a:custGeom>
            <a:avLst/>
            <a:gdLst>
              <a:gd name="connsiteX0" fmla="*/ 0 w 10037025"/>
              <a:gd name="connsiteY0" fmla="*/ 0 h 6858000"/>
              <a:gd name="connsiteX1" fmla="*/ 2237 w 10037025"/>
              <a:gd name="connsiteY1" fmla="*/ 0 h 6858000"/>
              <a:gd name="connsiteX2" fmla="*/ 17892 w 10037025"/>
              <a:gd name="connsiteY2" fmla="*/ 0 h 6858000"/>
              <a:gd name="connsiteX3" fmla="*/ 60384 w 10037025"/>
              <a:gd name="connsiteY3" fmla="*/ 0 h 6858000"/>
              <a:gd name="connsiteX4" fmla="*/ 95887 w 10037025"/>
              <a:gd name="connsiteY4" fmla="*/ 0 h 6858000"/>
              <a:gd name="connsiteX5" fmla="*/ 143131 w 10037025"/>
              <a:gd name="connsiteY5" fmla="*/ 0 h 6858000"/>
              <a:gd name="connsiteX6" fmla="*/ 203794 w 10037025"/>
              <a:gd name="connsiteY6" fmla="*/ 0 h 6858000"/>
              <a:gd name="connsiteX7" fmla="*/ 279553 w 10037025"/>
              <a:gd name="connsiteY7" fmla="*/ 0 h 6858000"/>
              <a:gd name="connsiteX8" fmla="*/ 372085 w 10037025"/>
              <a:gd name="connsiteY8" fmla="*/ 0 h 6858000"/>
              <a:gd name="connsiteX9" fmla="*/ 483068 w 10037025"/>
              <a:gd name="connsiteY9" fmla="*/ 0 h 6858000"/>
              <a:gd name="connsiteX10" fmla="*/ 614178 w 10037025"/>
              <a:gd name="connsiteY10" fmla="*/ 0 h 6858000"/>
              <a:gd name="connsiteX11" fmla="*/ 767094 w 10037025"/>
              <a:gd name="connsiteY11" fmla="*/ 0 h 6858000"/>
              <a:gd name="connsiteX12" fmla="*/ 943492 w 10037025"/>
              <a:gd name="connsiteY12" fmla="*/ 0 h 6858000"/>
              <a:gd name="connsiteX13" fmla="*/ 1145050 w 10037025"/>
              <a:gd name="connsiteY13" fmla="*/ 0 h 6858000"/>
              <a:gd name="connsiteX14" fmla="*/ 1373445 w 10037025"/>
              <a:gd name="connsiteY14" fmla="*/ 0 h 6858000"/>
              <a:gd name="connsiteX15" fmla="*/ 1630354 w 10037025"/>
              <a:gd name="connsiteY15" fmla="*/ 0 h 6858000"/>
              <a:gd name="connsiteX16" fmla="*/ 1917455 w 10037025"/>
              <a:gd name="connsiteY16" fmla="*/ 0 h 6858000"/>
              <a:gd name="connsiteX17" fmla="*/ 2236425 w 10037025"/>
              <a:gd name="connsiteY17" fmla="*/ 0 h 6858000"/>
              <a:gd name="connsiteX18" fmla="*/ 2588941 w 10037025"/>
              <a:gd name="connsiteY18" fmla="*/ 0 h 6858000"/>
              <a:gd name="connsiteX19" fmla="*/ 2976682 w 10037025"/>
              <a:gd name="connsiteY19" fmla="*/ 0 h 6858000"/>
              <a:gd name="connsiteX20" fmla="*/ 3401323 w 10037025"/>
              <a:gd name="connsiteY20" fmla="*/ 0 h 6858000"/>
              <a:gd name="connsiteX21" fmla="*/ 3864542 w 10037025"/>
              <a:gd name="connsiteY21" fmla="*/ 0 h 6858000"/>
              <a:gd name="connsiteX22" fmla="*/ 4368018 w 10037025"/>
              <a:gd name="connsiteY22" fmla="*/ 0 h 6858000"/>
              <a:gd name="connsiteX23" fmla="*/ 4913426 w 10037025"/>
              <a:gd name="connsiteY23" fmla="*/ 0 h 6858000"/>
              <a:gd name="connsiteX24" fmla="*/ 5502444 w 10037025"/>
              <a:gd name="connsiteY24" fmla="*/ 0 h 6858000"/>
              <a:gd name="connsiteX25" fmla="*/ 6136750 w 10037025"/>
              <a:gd name="connsiteY25" fmla="*/ 0 h 6858000"/>
              <a:gd name="connsiteX26" fmla="*/ 6818021 w 10037025"/>
              <a:gd name="connsiteY26" fmla="*/ 0 h 6858000"/>
              <a:gd name="connsiteX27" fmla="*/ 7547934 w 10037025"/>
              <a:gd name="connsiteY27" fmla="*/ 0 h 6858000"/>
              <a:gd name="connsiteX28" fmla="*/ 8328167 w 10037025"/>
              <a:gd name="connsiteY28" fmla="*/ 0 h 6858000"/>
              <a:gd name="connsiteX29" fmla="*/ 8737677 w 10037025"/>
              <a:gd name="connsiteY29" fmla="*/ 0 h 6858000"/>
              <a:gd name="connsiteX30" fmla="*/ 9160396 w 10037025"/>
              <a:gd name="connsiteY30" fmla="*/ 0 h 6858000"/>
              <a:gd name="connsiteX31" fmla="*/ 10037025 w 10037025"/>
              <a:gd name="connsiteY31" fmla="*/ 3429000 h 6858000"/>
              <a:gd name="connsiteX32" fmla="*/ 9160396 w 10037025"/>
              <a:gd name="connsiteY32" fmla="*/ 6858000 h 6858000"/>
              <a:gd name="connsiteX33" fmla="*/ 9158160 w 10037025"/>
              <a:gd name="connsiteY33" fmla="*/ 6858000 h 6858000"/>
              <a:gd name="connsiteX34" fmla="*/ 9142505 w 10037025"/>
              <a:gd name="connsiteY34" fmla="*/ 6858000 h 6858000"/>
              <a:gd name="connsiteX35" fmla="*/ 9100012 w 10037025"/>
              <a:gd name="connsiteY35" fmla="*/ 6858000 h 6858000"/>
              <a:gd name="connsiteX36" fmla="*/ 9064509 w 10037025"/>
              <a:gd name="connsiteY36" fmla="*/ 6858000 h 6858000"/>
              <a:gd name="connsiteX37" fmla="*/ 9017265 w 10037025"/>
              <a:gd name="connsiteY37" fmla="*/ 6858000 h 6858000"/>
              <a:gd name="connsiteX38" fmla="*/ 8956602 w 10037025"/>
              <a:gd name="connsiteY38" fmla="*/ 6858000 h 6858000"/>
              <a:gd name="connsiteX39" fmla="*/ 8880843 w 10037025"/>
              <a:gd name="connsiteY39" fmla="*/ 6858000 h 6858000"/>
              <a:gd name="connsiteX40" fmla="*/ 8788311 w 10037025"/>
              <a:gd name="connsiteY40" fmla="*/ 6858000 h 6858000"/>
              <a:gd name="connsiteX41" fmla="*/ 8677328 w 10037025"/>
              <a:gd name="connsiteY41" fmla="*/ 6858000 h 6858000"/>
              <a:gd name="connsiteX42" fmla="*/ 8546218 w 10037025"/>
              <a:gd name="connsiteY42" fmla="*/ 6858000 h 6858000"/>
              <a:gd name="connsiteX43" fmla="*/ 8393302 w 10037025"/>
              <a:gd name="connsiteY43" fmla="*/ 6858000 h 6858000"/>
              <a:gd name="connsiteX44" fmla="*/ 8216905 w 10037025"/>
              <a:gd name="connsiteY44" fmla="*/ 6858000 h 6858000"/>
              <a:gd name="connsiteX45" fmla="*/ 8015347 w 10037025"/>
              <a:gd name="connsiteY45" fmla="*/ 6858000 h 6858000"/>
              <a:gd name="connsiteX46" fmla="*/ 7786952 w 10037025"/>
              <a:gd name="connsiteY46" fmla="*/ 6858000 h 6858000"/>
              <a:gd name="connsiteX47" fmla="*/ 7530043 w 10037025"/>
              <a:gd name="connsiteY47" fmla="*/ 6858000 h 6858000"/>
              <a:gd name="connsiteX48" fmla="*/ 7242942 w 10037025"/>
              <a:gd name="connsiteY48" fmla="*/ 6858000 h 6858000"/>
              <a:gd name="connsiteX49" fmla="*/ 6923972 w 10037025"/>
              <a:gd name="connsiteY49" fmla="*/ 6858000 h 6858000"/>
              <a:gd name="connsiteX50" fmla="*/ 6571455 w 10037025"/>
              <a:gd name="connsiteY50" fmla="*/ 6858000 h 6858000"/>
              <a:gd name="connsiteX51" fmla="*/ 6183715 w 10037025"/>
              <a:gd name="connsiteY51" fmla="*/ 6858000 h 6858000"/>
              <a:gd name="connsiteX52" fmla="*/ 5759074 w 10037025"/>
              <a:gd name="connsiteY52" fmla="*/ 6858000 h 6858000"/>
              <a:gd name="connsiteX53" fmla="*/ 5295854 w 10037025"/>
              <a:gd name="connsiteY53" fmla="*/ 6858000 h 6858000"/>
              <a:gd name="connsiteX54" fmla="*/ 4792379 w 10037025"/>
              <a:gd name="connsiteY54" fmla="*/ 6858000 h 6858000"/>
              <a:gd name="connsiteX55" fmla="*/ 4246971 w 10037025"/>
              <a:gd name="connsiteY55" fmla="*/ 6858000 h 6858000"/>
              <a:gd name="connsiteX56" fmla="*/ 3657953 w 10037025"/>
              <a:gd name="connsiteY56" fmla="*/ 6858000 h 6858000"/>
              <a:gd name="connsiteX57" fmla="*/ 3023647 w 10037025"/>
              <a:gd name="connsiteY57" fmla="*/ 6858000 h 6858000"/>
              <a:gd name="connsiteX58" fmla="*/ 2342376 w 10037025"/>
              <a:gd name="connsiteY58" fmla="*/ 6858000 h 6858000"/>
              <a:gd name="connsiteX59" fmla="*/ 1612463 w 10037025"/>
              <a:gd name="connsiteY59" fmla="*/ 6858000 h 6858000"/>
              <a:gd name="connsiteX60" fmla="*/ 832230 w 10037025"/>
              <a:gd name="connsiteY60" fmla="*/ 6858000 h 6858000"/>
              <a:gd name="connsiteX61" fmla="*/ 422719 w 10037025"/>
              <a:gd name="connsiteY61" fmla="*/ 6858000 h 6858000"/>
              <a:gd name="connsiteX62" fmla="*/ 0 w 10037025"/>
              <a:gd name="connsiteY6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10037025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1145050" y="0"/>
                </a:lnTo>
                <a:lnTo>
                  <a:pt x="1373445" y="0"/>
                </a:lnTo>
                <a:lnTo>
                  <a:pt x="1630354" y="0"/>
                </a:lnTo>
                <a:lnTo>
                  <a:pt x="1917455" y="0"/>
                </a:lnTo>
                <a:lnTo>
                  <a:pt x="2236425" y="0"/>
                </a:lnTo>
                <a:lnTo>
                  <a:pt x="2588941" y="0"/>
                </a:lnTo>
                <a:lnTo>
                  <a:pt x="2976682" y="0"/>
                </a:lnTo>
                <a:lnTo>
                  <a:pt x="3401323" y="0"/>
                </a:lnTo>
                <a:lnTo>
                  <a:pt x="3864542" y="0"/>
                </a:lnTo>
                <a:lnTo>
                  <a:pt x="4368018" y="0"/>
                </a:lnTo>
                <a:lnTo>
                  <a:pt x="4913426" y="0"/>
                </a:lnTo>
                <a:lnTo>
                  <a:pt x="5502444" y="0"/>
                </a:lnTo>
                <a:lnTo>
                  <a:pt x="6136750" y="0"/>
                </a:lnTo>
                <a:lnTo>
                  <a:pt x="6818021" y="0"/>
                </a:lnTo>
                <a:lnTo>
                  <a:pt x="7547934" y="0"/>
                </a:lnTo>
                <a:lnTo>
                  <a:pt x="8328167" y="0"/>
                </a:lnTo>
                <a:lnTo>
                  <a:pt x="8737677" y="0"/>
                </a:lnTo>
                <a:lnTo>
                  <a:pt x="9160396" y="0"/>
                </a:lnTo>
                <a:cubicBezTo>
                  <a:pt x="9719106" y="1018571"/>
                  <a:pt x="10037025" y="2187207"/>
                  <a:pt x="10037025" y="3429000"/>
                </a:cubicBezTo>
                <a:cubicBezTo>
                  <a:pt x="10037025" y="4671731"/>
                  <a:pt x="9719106" y="5839430"/>
                  <a:pt x="9160396" y="6858000"/>
                </a:cubicBezTo>
                <a:lnTo>
                  <a:pt x="9158160" y="6858000"/>
                </a:lnTo>
                <a:lnTo>
                  <a:pt x="9142505" y="6858000"/>
                </a:lnTo>
                <a:lnTo>
                  <a:pt x="9100012" y="6858000"/>
                </a:lnTo>
                <a:lnTo>
                  <a:pt x="9064509" y="6858000"/>
                </a:lnTo>
                <a:lnTo>
                  <a:pt x="9017265" y="6858000"/>
                </a:lnTo>
                <a:lnTo>
                  <a:pt x="8956602" y="6858000"/>
                </a:lnTo>
                <a:lnTo>
                  <a:pt x="8880843" y="6858000"/>
                </a:lnTo>
                <a:lnTo>
                  <a:pt x="8788311" y="6858000"/>
                </a:lnTo>
                <a:lnTo>
                  <a:pt x="8677328" y="6858000"/>
                </a:lnTo>
                <a:lnTo>
                  <a:pt x="8546218" y="6858000"/>
                </a:lnTo>
                <a:lnTo>
                  <a:pt x="8393302" y="6858000"/>
                </a:lnTo>
                <a:lnTo>
                  <a:pt x="8216905" y="6858000"/>
                </a:lnTo>
                <a:lnTo>
                  <a:pt x="8015347" y="6858000"/>
                </a:lnTo>
                <a:lnTo>
                  <a:pt x="7786952" y="6858000"/>
                </a:lnTo>
                <a:lnTo>
                  <a:pt x="7530043" y="6858000"/>
                </a:lnTo>
                <a:lnTo>
                  <a:pt x="7242942" y="6858000"/>
                </a:lnTo>
                <a:lnTo>
                  <a:pt x="6923972" y="6858000"/>
                </a:lnTo>
                <a:lnTo>
                  <a:pt x="6571455" y="6858000"/>
                </a:lnTo>
                <a:lnTo>
                  <a:pt x="6183715" y="6858000"/>
                </a:lnTo>
                <a:lnTo>
                  <a:pt x="5759074" y="6858000"/>
                </a:lnTo>
                <a:lnTo>
                  <a:pt x="5295854" y="6858000"/>
                </a:lnTo>
                <a:lnTo>
                  <a:pt x="4792379" y="6858000"/>
                </a:lnTo>
                <a:lnTo>
                  <a:pt x="4246971" y="6858000"/>
                </a:lnTo>
                <a:lnTo>
                  <a:pt x="3657953" y="6858000"/>
                </a:lnTo>
                <a:lnTo>
                  <a:pt x="3023647" y="6858000"/>
                </a:lnTo>
                <a:lnTo>
                  <a:pt x="2342376" y="6858000"/>
                </a:lnTo>
                <a:lnTo>
                  <a:pt x="161246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C370884F-6311-49C2-8806-A75B8B32042D}"/>
              </a:ext>
            </a:extLst>
          </p:cNvPr>
          <p:cNvSpPr>
            <a:spLocks/>
          </p:cNvSpPr>
          <p:nvPr/>
        </p:nvSpPr>
        <p:spPr bwMode="auto">
          <a:xfrm>
            <a:off x="0" y="0"/>
            <a:ext cx="10029017" cy="6852528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 indent="0" eaLnBrk="0" fontAlgn="base" hangingPunct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​"/>
            </a:pPr>
            <a:endParaRPr lang="en-US" sz="2000" b="0" dirty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  <a:sym typeface="Proxima Nova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8629D78-F573-4D41-A217-4A90EC9145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91781" y="6087872"/>
            <a:ext cx="1308671" cy="438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193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(Single Lef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29A41F1-58BA-49CE-9836-9967CA8735F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1" y="0"/>
            <a:ext cx="6095999" cy="6858000"/>
          </a:xfrm>
          <a:custGeom>
            <a:avLst/>
            <a:gdLst>
              <a:gd name="connsiteX0" fmla="*/ 0 w 6095999"/>
              <a:gd name="connsiteY0" fmla="*/ 0 h 6858000"/>
              <a:gd name="connsiteX1" fmla="*/ 2237 w 6095999"/>
              <a:gd name="connsiteY1" fmla="*/ 0 h 6858000"/>
              <a:gd name="connsiteX2" fmla="*/ 17892 w 6095999"/>
              <a:gd name="connsiteY2" fmla="*/ 0 h 6858000"/>
              <a:gd name="connsiteX3" fmla="*/ 60384 w 6095999"/>
              <a:gd name="connsiteY3" fmla="*/ 0 h 6858000"/>
              <a:gd name="connsiteX4" fmla="*/ 95887 w 6095999"/>
              <a:gd name="connsiteY4" fmla="*/ 0 h 6858000"/>
              <a:gd name="connsiteX5" fmla="*/ 143131 w 6095999"/>
              <a:gd name="connsiteY5" fmla="*/ 0 h 6858000"/>
              <a:gd name="connsiteX6" fmla="*/ 203794 w 6095999"/>
              <a:gd name="connsiteY6" fmla="*/ 0 h 6858000"/>
              <a:gd name="connsiteX7" fmla="*/ 279553 w 6095999"/>
              <a:gd name="connsiteY7" fmla="*/ 0 h 6858000"/>
              <a:gd name="connsiteX8" fmla="*/ 372085 w 6095999"/>
              <a:gd name="connsiteY8" fmla="*/ 0 h 6858000"/>
              <a:gd name="connsiteX9" fmla="*/ 426992 w 6095999"/>
              <a:gd name="connsiteY9" fmla="*/ 0 h 6858000"/>
              <a:gd name="connsiteX10" fmla="*/ 483068 w 6095999"/>
              <a:gd name="connsiteY10" fmla="*/ 0 h 6858000"/>
              <a:gd name="connsiteX11" fmla="*/ 614178 w 6095999"/>
              <a:gd name="connsiteY11" fmla="*/ 0 h 6858000"/>
              <a:gd name="connsiteX12" fmla="*/ 767094 w 6095999"/>
              <a:gd name="connsiteY12" fmla="*/ 0 h 6858000"/>
              <a:gd name="connsiteX13" fmla="*/ 943492 w 6095999"/>
              <a:gd name="connsiteY13" fmla="*/ 0 h 6858000"/>
              <a:gd name="connsiteX14" fmla="*/ 972400 w 6095999"/>
              <a:gd name="connsiteY14" fmla="*/ 0 h 6858000"/>
              <a:gd name="connsiteX15" fmla="*/ 1145050 w 6095999"/>
              <a:gd name="connsiteY15" fmla="*/ 0 h 6858000"/>
              <a:gd name="connsiteX16" fmla="*/ 1373445 w 6095999"/>
              <a:gd name="connsiteY16" fmla="*/ 0 h 6858000"/>
              <a:gd name="connsiteX17" fmla="*/ 1561418 w 6095999"/>
              <a:gd name="connsiteY17" fmla="*/ 0 h 6858000"/>
              <a:gd name="connsiteX18" fmla="*/ 1630354 w 6095999"/>
              <a:gd name="connsiteY18" fmla="*/ 0 h 6858000"/>
              <a:gd name="connsiteX19" fmla="*/ 1917455 w 6095999"/>
              <a:gd name="connsiteY19" fmla="*/ 0 h 6858000"/>
              <a:gd name="connsiteX20" fmla="*/ 2195724 w 6095999"/>
              <a:gd name="connsiteY20" fmla="*/ 0 h 6858000"/>
              <a:gd name="connsiteX21" fmla="*/ 2236425 w 6095999"/>
              <a:gd name="connsiteY21" fmla="*/ 0 h 6858000"/>
              <a:gd name="connsiteX22" fmla="*/ 2588941 w 6095999"/>
              <a:gd name="connsiteY22" fmla="*/ 0 h 6858000"/>
              <a:gd name="connsiteX23" fmla="*/ 2876995 w 6095999"/>
              <a:gd name="connsiteY23" fmla="*/ 0 h 6858000"/>
              <a:gd name="connsiteX24" fmla="*/ 2976682 w 6095999"/>
              <a:gd name="connsiteY24" fmla="*/ 0 h 6858000"/>
              <a:gd name="connsiteX25" fmla="*/ 3401323 w 6095999"/>
              <a:gd name="connsiteY25" fmla="*/ 0 h 6858000"/>
              <a:gd name="connsiteX26" fmla="*/ 3606908 w 6095999"/>
              <a:gd name="connsiteY26" fmla="*/ 0 h 6858000"/>
              <a:gd name="connsiteX27" fmla="*/ 3864542 w 6095999"/>
              <a:gd name="connsiteY27" fmla="*/ 0 h 6858000"/>
              <a:gd name="connsiteX28" fmla="*/ 4368018 w 6095999"/>
              <a:gd name="connsiteY28" fmla="*/ 0 h 6858000"/>
              <a:gd name="connsiteX29" fmla="*/ 4387141 w 6095999"/>
              <a:gd name="connsiteY29" fmla="*/ 0 h 6858000"/>
              <a:gd name="connsiteX30" fmla="*/ 4796651 w 6095999"/>
              <a:gd name="connsiteY30" fmla="*/ 0 h 6858000"/>
              <a:gd name="connsiteX31" fmla="*/ 4913426 w 6095999"/>
              <a:gd name="connsiteY31" fmla="*/ 0 h 6858000"/>
              <a:gd name="connsiteX32" fmla="*/ 5219370 w 6095999"/>
              <a:gd name="connsiteY32" fmla="*/ 0 h 6858000"/>
              <a:gd name="connsiteX33" fmla="*/ 6095999 w 6095999"/>
              <a:gd name="connsiteY33" fmla="*/ 3429000 h 6858000"/>
              <a:gd name="connsiteX34" fmla="*/ 5219370 w 6095999"/>
              <a:gd name="connsiteY34" fmla="*/ 6858000 h 6858000"/>
              <a:gd name="connsiteX35" fmla="*/ 5217134 w 6095999"/>
              <a:gd name="connsiteY35" fmla="*/ 6858000 h 6858000"/>
              <a:gd name="connsiteX36" fmla="*/ 5201479 w 6095999"/>
              <a:gd name="connsiteY36" fmla="*/ 6858000 h 6858000"/>
              <a:gd name="connsiteX37" fmla="*/ 5158986 w 6095999"/>
              <a:gd name="connsiteY37" fmla="*/ 6858000 h 6858000"/>
              <a:gd name="connsiteX38" fmla="*/ 5123483 w 6095999"/>
              <a:gd name="connsiteY38" fmla="*/ 6858000 h 6858000"/>
              <a:gd name="connsiteX39" fmla="*/ 5076239 w 6095999"/>
              <a:gd name="connsiteY39" fmla="*/ 6858000 h 6858000"/>
              <a:gd name="connsiteX40" fmla="*/ 5015576 w 6095999"/>
              <a:gd name="connsiteY40" fmla="*/ 6858000 h 6858000"/>
              <a:gd name="connsiteX41" fmla="*/ 4939817 w 6095999"/>
              <a:gd name="connsiteY41" fmla="*/ 6858000 h 6858000"/>
              <a:gd name="connsiteX42" fmla="*/ 4847285 w 6095999"/>
              <a:gd name="connsiteY42" fmla="*/ 6858000 h 6858000"/>
              <a:gd name="connsiteX43" fmla="*/ 4792379 w 6095999"/>
              <a:gd name="connsiteY43" fmla="*/ 6858000 h 6858000"/>
              <a:gd name="connsiteX44" fmla="*/ 4736302 w 6095999"/>
              <a:gd name="connsiteY44" fmla="*/ 6858000 h 6858000"/>
              <a:gd name="connsiteX45" fmla="*/ 4605192 w 6095999"/>
              <a:gd name="connsiteY45" fmla="*/ 6858000 h 6858000"/>
              <a:gd name="connsiteX46" fmla="*/ 4452276 w 6095999"/>
              <a:gd name="connsiteY46" fmla="*/ 6858000 h 6858000"/>
              <a:gd name="connsiteX47" fmla="*/ 4275879 w 6095999"/>
              <a:gd name="connsiteY47" fmla="*/ 6858000 h 6858000"/>
              <a:gd name="connsiteX48" fmla="*/ 4246971 w 6095999"/>
              <a:gd name="connsiteY48" fmla="*/ 6858000 h 6858000"/>
              <a:gd name="connsiteX49" fmla="*/ 4074321 w 6095999"/>
              <a:gd name="connsiteY49" fmla="*/ 6858000 h 6858000"/>
              <a:gd name="connsiteX50" fmla="*/ 3845926 w 6095999"/>
              <a:gd name="connsiteY50" fmla="*/ 6858000 h 6858000"/>
              <a:gd name="connsiteX51" fmla="*/ 3657953 w 6095999"/>
              <a:gd name="connsiteY51" fmla="*/ 6858000 h 6858000"/>
              <a:gd name="connsiteX52" fmla="*/ 3589017 w 6095999"/>
              <a:gd name="connsiteY52" fmla="*/ 6858000 h 6858000"/>
              <a:gd name="connsiteX53" fmla="*/ 3301916 w 6095999"/>
              <a:gd name="connsiteY53" fmla="*/ 6858000 h 6858000"/>
              <a:gd name="connsiteX54" fmla="*/ 3023647 w 6095999"/>
              <a:gd name="connsiteY54" fmla="*/ 6858000 h 6858000"/>
              <a:gd name="connsiteX55" fmla="*/ 2982946 w 6095999"/>
              <a:gd name="connsiteY55" fmla="*/ 6858000 h 6858000"/>
              <a:gd name="connsiteX56" fmla="*/ 2630429 w 6095999"/>
              <a:gd name="connsiteY56" fmla="*/ 6858000 h 6858000"/>
              <a:gd name="connsiteX57" fmla="*/ 2342376 w 6095999"/>
              <a:gd name="connsiteY57" fmla="*/ 6858000 h 6858000"/>
              <a:gd name="connsiteX58" fmla="*/ 2242689 w 6095999"/>
              <a:gd name="connsiteY58" fmla="*/ 6858000 h 6858000"/>
              <a:gd name="connsiteX59" fmla="*/ 1818048 w 6095999"/>
              <a:gd name="connsiteY59" fmla="*/ 6858000 h 6858000"/>
              <a:gd name="connsiteX60" fmla="*/ 1612463 w 6095999"/>
              <a:gd name="connsiteY60" fmla="*/ 6858000 h 6858000"/>
              <a:gd name="connsiteX61" fmla="*/ 1354828 w 6095999"/>
              <a:gd name="connsiteY61" fmla="*/ 6858000 h 6858000"/>
              <a:gd name="connsiteX62" fmla="*/ 851353 w 6095999"/>
              <a:gd name="connsiteY62" fmla="*/ 6858000 h 6858000"/>
              <a:gd name="connsiteX63" fmla="*/ 832230 w 6095999"/>
              <a:gd name="connsiteY63" fmla="*/ 6858000 h 6858000"/>
              <a:gd name="connsiteX64" fmla="*/ 422719 w 6095999"/>
              <a:gd name="connsiteY64" fmla="*/ 6858000 h 6858000"/>
              <a:gd name="connsiteX65" fmla="*/ 305945 w 6095999"/>
              <a:gd name="connsiteY65" fmla="*/ 6858000 h 6858000"/>
              <a:gd name="connsiteX66" fmla="*/ 0 w 6095999"/>
              <a:gd name="connsiteY6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6095999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26992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972400" y="0"/>
                </a:lnTo>
                <a:lnTo>
                  <a:pt x="1145050" y="0"/>
                </a:lnTo>
                <a:lnTo>
                  <a:pt x="1373445" y="0"/>
                </a:lnTo>
                <a:lnTo>
                  <a:pt x="1561418" y="0"/>
                </a:lnTo>
                <a:lnTo>
                  <a:pt x="1630354" y="0"/>
                </a:lnTo>
                <a:lnTo>
                  <a:pt x="1917455" y="0"/>
                </a:lnTo>
                <a:lnTo>
                  <a:pt x="2195724" y="0"/>
                </a:lnTo>
                <a:lnTo>
                  <a:pt x="2236425" y="0"/>
                </a:lnTo>
                <a:lnTo>
                  <a:pt x="2588941" y="0"/>
                </a:lnTo>
                <a:lnTo>
                  <a:pt x="2876995" y="0"/>
                </a:lnTo>
                <a:lnTo>
                  <a:pt x="2976682" y="0"/>
                </a:lnTo>
                <a:lnTo>
                  <a:pt x="3401323" y="0"/>
                </a:lnTo>
                <a:lnTo>
                  <a:pt x="3606908" y="0"/>
                </a:lnTo>
                <a:lnTo>
                  <a:pt x="3864542" y="0"/>
                </a:lnTo>
                <a:lnTo>
                  <a:pt x="4368018" y="0"/>
                </a:lnTo>
                <a:lnTo>
                  <a:pt x="4387141" y="0"/>
                </a:lnTo>
                <a:lnTo>
                  <a:pt x="4796651" y="0"/>
                </a:lnTo>
                <a:lnTo>
                  <a:pt x="4913426" y="0"/>
                </a:lnTo>
                <a:lnTo>
                  <a:pt x="5219370" y="0"/>
                </a:lnTo>
                <a:cubicBezTo>
                  <a:pt x="5778080" y="1018571"/>
                  <a:pt x="6095999" y="2187207"/>
                  <a:pt x="6095999" y="3429000"/>
                </a:cubicBezTo>
                <a:cubicBezTo>
                  <a:pt x="6095999" y="4671731"/>
                  <a:pt x="5778080" y="5839430"/>
                  <a:pt x="5219370" y="6858000"/>
                </a:cubicBezTo>
                <a:lnTo>
                  <a:pt x="5217134" y="6858000"/>
                </a:lnTo>
                <a:lnTo>
                  <a:pt x="5201479" y="6858000"/>
                </a:lnTo>
                <a:lnTo>
                  <a:pt x="5158986" y="6858000"/>
                </a:lnTo>
                <a:lnTo>
                  <a:pt x="5123483" y="6858000"/>
                </a:lnTo>
                <a:lnTo>
                  <a:pt x="5076239" y="6858000"/>
                </a:lnTo>
                <a:lnTo>
                  <a:pt x="5015576" y="6858000"/>
                </a:lnTo>
                <a:lnTo>
                  <a:pt x="4939817" y="6858000"/>
                </a:lnTo>
                <a:lnTo>
                  <a:pt x="4847285" y="6858000"/>
                </a:lnTo>
                <a:lnTo>
                  <a:pt x="4792379" y="6858000"/>
                </a:lnTo>
                <a:lnTo>
                  <a:pt x="4736302" y="6858000"/>
                </a:lnTo>
                <a:lnTo>
                  <a:pt x="4605192" y="6858000"/>
                </a:lnTo>
                <a:lnTo>
                  <a:pt x="4452276" y="6858000"/>
                </a:lnTo>
                <a:lnTo>
                  <a:pt x="4275879" y="6858000"/>
                </a:lnTo>
                <a:lnTo>
                  <a:pt x="4246971" y="6858000"/>
                </a:lnTo>
                <a:lnTo>
                  <a:pt x="4074321" y="6858000"/>
                </a:lnTo>
                <a:lnTo>
                  <a:pt x="3845926" y="6858000"/>
                </a:lnTo>
                <a:lnTo>
                  <a:pt x="3657953" y="6858000"/>
                </a:lnTo>
                <a:lnTo>
                  <a:pt x="3589017" y="6858000"/>
                </a:lnTo>
                <a:lnTo>
                  <a:pt x="3301916" y="6858000"/>
                </a:lnTo>
                <a:lnTo>
                  <a:pt x="3023647" y="6858000"/>
                </a:lnTo>
                <a:lnTo>
                  <a:pt x="2982946" y="6858000"/>
                </a:lnTo>
                <a:lnTo>
                  <a:pt x="2630429" y="6858000"/>
                </a:lnTo>
                <a:lnTo>
                  <a:pt x="2342376" y="6858000"/>
                </a:lnTo>
                <a:lnTo>
                  <a:pt x="2242689" y="6858000"/>
                </a:lnTo>
                <a:lnTo>
                  <a:pt x="1818048" y="6858000"/>
                </a:lnTo>
                <a:lnTo>
                  <a:pt x="1612463" y="6858000"/>
                </a:lnTo>
                <a:lnTo>
                  <a:pt x="1354828" y="6858000"/>
                </a:lnTo>
                <a:lnTo>
                  <a:pt x="85135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30594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31000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1000" y="167677"/>
            <a:ext cx="496722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</p:spTree>
    <p:extLst>
      <p:ext uri="{BB962C8B-B14F-4D97-AF65-F5344CB8AC3E}">
        <p14:creationId xmlns:p14="http://schemas.microsoft.com/office/powerpoint/2010/main" val="3274725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(Single Righ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776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496722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919739B-51A2-4ADE-AAB0-76FE3337933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ltGray">
          <a:xfrm>
            <a:off x="6096001" y="0"/>
            <a:ext cx="6096001" cy="6858000"/>
          </a:xfrm>
          <a:custGeom>
            <a:avLst/>
            <a:gdLst>
              <a:gd name="connsiteX0" fmla="*/ 876629 w 6096001"/>
              <a:gd name="connsiteY0" fmla="*/ 0 h 6858000"/>
              <a:gd name="connsiteX1" fmla="*/ 1299348 w 6096001"/>
              <a:gd name="connsiteY1" fmla="*/ 0 h 6858000"/>
              <a:gd name="connsiteX2" fmla="*/ 1708858 w 6096001"/>
              <a:gd name="connsiteY2" fmla="*/ 0 h 6858000"/>
              <a:gd name="connsiteX3" fmla="*/ 2489091 w 6096001"/>
              <a:gd name="connsiteY3" fmla="*/ 0 h 6858000"/>
              <a:gd name="connsiteX4" fmla="*/ 3219004 w 6096001"/>
              <a:gd name="connsiteY4" fmla="*/ 0 h 6858000"/>
              <a:gd name="connsiteX5" fmla="*/ 3900275 w 6096001"/>
              <a:gd name="connsiteY5" fmla="*/ 0 h 6858000"/>
              <a:gd name="connsiteX6" fmla="*/ 4534581 w 6096001"/>
              <a:gd name="connsiteY6" fmla="*/ 0 h 6858000"/>
              <a:gd name="connsiteX7" fmla="*/ 5123599 w 6096001"/>
              <a:gd name="connsiteY7" fmla="*/ 0 h 6858000"/>
              <a:gd name="connsiteX8" fmla="*/ 5669007 w 6096001"/>
              <a:gd name="connsiteY8" fmla="*/ 0 h 6858000"/>
              <a:gd name="connsiteX9" fmla="*/ 6096001 w 6096001"/>
              <a:gd name="connsiteY9" fmla="*/ 0 h 6858000"/>
              <a:gd name="connsiteX10" fmla="*/ 6096001 w 6096001"/>
              <a:gd name="connsiteY10" fmla="*/ 6858000 h 6858000"/>
              <a:gd name="connsiteX11" fmla="*/ 5790054 w 6096001"/>
              <a:gd name="connsiteY11" fmla="*/ 6858000 h 6858000"/>
              <a:gd name="connsiteX12" fmla="*/ 5244646 w 6096001"/>
              <a:gd name="connsiteY12" fmla="*/ 6858000 h 6858000"/>
              <a:gd name="connsiteX13" fmla="*/ 4741171 w 6096001"/>
              <a:gd name="connsiteY13" fmla="*/ 6858000 h 6858000"/>
              <a:gd name="connsiteX14" fmla="*/ 4277951 w 6096001"/>
              <a:gd name="connsiteY14" fmla="*/ 6858000 h 6858000"/>
              <a:gd name="connsiteX15" fmla="*/ 3853310 w 6096001"/>
              <a:gd name="connsiteY15" fmla="*/ 6858000 h 6858000"/>
              <a:gd name="connsiteX16" fmla="*/ 3465570 w 6096001"/>
              <a:gd name="connsiteY16" fmla="*/ 6858000 h 6858000"/>
              <a:gd name="connsiteX17" fmla="*/ 3113053 w 6096001"/>
              <a:gd name="connsiteY17" fmla="*/ 6858000 h 6858000"/>
              <a:gd name="connsiteX18" fmla="*/ 2794083 w 6096001"/>
              <a:gd name="connsiteY18" fmla="*/ 6858000 h 6858000"/>
              <a:gd name="connsiteX19" fmla="*/ 2506982 w 6096001"/>
              <a:gd name="connsiteY19" fmla="*/ 6858000 h 6858000"/>
              <a:gd name="connsiteX20" fmla="*/ 2250073 w 6096001"/>
              <a:gd name="connsiteY20" fmla="*/ 6858000 h 6858000"/>
              <a:gd name="connsiteX21" fmla="*/ 2021678 w 6096001"/>
              <a:gd name="connsiteY21" fmla="*/ 6858000 h 6858000"/>
              <a:gd name="connsiteX22" fmla="*/ 1820120 w 6096001"/>
              <a:gd name="connsiteY22" fmla="*/ 6858000 h 6858000"/>
              <a:gd name="connsiteX23" fmla="*/ 1643723 w 6096001"/>
              <a:gd name="connsiteY23" fmla="*/ 6858000 h 6858000"/>
              <a:gd name="connsiteX24" fmla="*/ 1490807 w 6096001"/>
              <a:gd name="connsiteY24" fmla="*/ 6858000 h 6858000"/>
              <a:gd name="connsiteX25" fmla="*/ 1359697 w 6096001"/>
              <a:gd name="connsiteY25" fmla="*/ 6858000 h 6858000"/>
              <a:gd name="connsiteX26" fmla="*/ 1248714 w 6096001"/>
              <a:gd name="connsiteY26" fmla="*/ 6858000 h 6858000"/>
              <a:gd name="connsiteX27" fmla="*/ 1156182 w 6096001"/>
              <a:gd name="connsiteY27" fmla="*/ 6858000 h 6858000"/>
              <a:gd name="connsiteX28" fmla="*/ 1080423 w 6096001"/>
              <a:gd name="connsiteY28" fmla="*/ 6858000 h 6858000"/>
              <a:gd name="connsiteX29" fmla="*/ 1019760 w 6096001"/>
              <a:gd name="connsiteY29" fmla="*/ 6858000 h 6858000"/>
              <a:gd name="connsiteX30" fmla="*/ 972516 w 6096001"/>
              <a:gd name="connsiteY30" fmla="*/ 6858000 h 6858000"/>
              <a:gd name="connsiteX31" fmla="*/ 937013 w 6096001"/>
              <a:gd name="connsiteY31" fmla="*/ 6858000 h 6858000"/>
              <a:gd name="connsiteX32" fmla="*/ 894520 w 6096001"/>
              <a:gd name="connsiteY32" fmla="*/ 6858000 h 6858000"/>
              <a:gd name="connsiteX33" fmla="*/ 878865 w 6096001"/>
              <a:gd name="connsiteY33" fmla="*/ 6858000 h 6858000"/>
              <a:gd name="connsiteX34" fmla="*/ 876629 w 6096001"/>
              <a:gd name="connsiteY34" fmla="*/ 6858000 h 6858000"/>
              <a:gd name="connsiteX35" fmla="*/ 0 w 6096001"/>
              <a:gd name="connsiteY35" fmla="*/ 3429000 h 6858000"/>
              <a:gd name="connsiteX36" fmla="*/ 876629 w 6096001"/>
              <a:gd name="connsiteY3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96001" h="6858000">
                <a:moveTo>
                  <a:pt x="876629" y="0"/>
                </a:moveTo>
                <a:lnTo>
                  <a:pt x="1299348" y="0"/>
                </a:lnTo>
                <a:lnTo>
                  <a:pt x="1708858" y="0"/>
                </a:lnTo>
                <a:lnTo>
                  <a:pt x="2489091" y="0"/>
                </a:lnTo>
                <a:lnTo>
                  <a:pt x="3219004" y="0"/>
                </a:lnTo>
                <a:lnTo>
                  <a:pt x="3900275" y="0"/>
                </a:lnTo>
                <a:lnTo>
                  <a:pt x="4534581" y="0"/>
                </a:lnTo>
                <a:lnTo>
                  <a:pt x="5123599" y="0"/>
                </a:lnTo>
                <a:lnTo>
                  <a:pt x="5669007" y="0"/>
                </a:lnTo>
                <a:lnTo>
                  <a:pt x="6096001" y="0"/>
                </a:lnTo>
                <a:lnTo>
                  <a:pt x="6096001" y="6858000"/>
                </a:lnTo>
                <a:lnTo>
                  <a:pt x="5790054" y="6858000"/>
                </a:lnTo>
                <a:lnTo>
                  <a:pt x="5244646" y="6858000"/>
                </a:lnTo>
                <a:lnTo>
                  <a:pt x="4741171" y="6858000"/>
                </a:lnTo>
                <a:lnTo>
                  <a:pt x="4277951" y="6858000"/>
                </a:lnTo>
                <a:lnTo>
                  <a:pt x="3853310" y="6858000"/>
                </a:lnTo>
                <a:lnTo>
                  <a:pt x="3465570" y="6858000"/>
                </a:lnTo>
                <a:lnTo>
                  <a:pt x="3113053" y="6858000"/>
                </a:lnTo>
                <a:lnTo>
                  <a:pt x="2794083" y="6858000"/>
                </a:lnTo>
                <a:lnTo>
                  <a:pt x="2506982" y="6858000"/>
                </a:lnTo>
                <a:lnTo>
                  <a:pt x="2250073" y="6858000"/>
                </a:lnTo>
                <a:lnTo>
                  <a:pt x="2021678" y="6858000"/>
                </a:lnTo>
                <a:lnTo>
                  <a:pt x="1820120" y="6858000"/>
                </a:lnTo>
                <a:lnTo>
                  <a:pt x="1643723" y="6858000"/>
                </a:lnTo>
                <a:lnTo>
                  <a:pt x="1490807" y="6858000"/>
                </a:lnTo>
                <a:lnTo>
                  <a:pt x="1359697" y="6858000"/>
                </a:lnTo>
                <a:lnTo>
                  <a:pt x="1248714" y="6858000"/>
                </a:lnTo>
                <a:lnTo>
                  <a:pt x="1156182" y="6858000"/>
                </a:lnTo>
                <a:lnTo>
                  <a:pt x="1080423" y="6858000"/>
                </a:lnTo>
                <a:lnTo>
                  <a:pt x="1019760" y="6858000"/>
                </a:lnTo>
                <a:lnTo>
                  <a:pt x="972516" y="6858000"/>
                </a:lnTo>
                <a:lnTo>
                  <a:pt x="937013" y="6858000"/>
                </a:lnTo>
                <a:lnTo>
                  <a:pt x="894520" y="6858000"/>
                </a:lnTo>
                <a:lnTo>
                  <a:pt x="878865" y="6858000"/>
                </a:lnTo>
                <a:lnTo>
                  <a:pt x="876629" y="6858000"/>
                </a:lnTo>
                <a:cubicBezTo>
                  <a:pt x="317919" y="5839430"/>
                  <a:pt x="0" y="4671731"/>
                  <a:pt x="0" y="3429000"/>
                </a:cubicBezTo>
                <a:cubicBezTo>
                  <a:pt x="0" y="2187207"/>
                  <a:pt x="317919" y="1018571"/>
                  <a:pt x="876629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vert="horz" wrap="square" lIns="1005840" tIns="0" rIns="0" bIns="0"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016209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(Multi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6F15D45E-1A29-46E9-B58E-872FED8D000F}"/>
              </a:ext>
            </a:extLst>
          </p:cNvPr>
          <p:cNvSpPr/>
          <p:nvPr/>
        </p:nvSpPr>
        <p:spPr bwMode="ltGray">
          <a:xfrm>
            <a:off x="742098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dirty="0">
              <a:sym typeface="Proxima Nova Light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681DC18-66F7-491B-8089-60DD8E1AB1AA}"/>
              </a:ext>
            </a:extLst>
          </p:cNvPr>
          <p:cNvSpPr/>
          <p:nvPr/>
        </p:nvSpPr>
        <p:spPr bwMode="ltGray">
          <a:xfrm>
            <a:off x="4555746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dirty="0">
              <a:sym typeface="Proxima Nova Light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75A85B8-9A99-4F3C-933A-121390A9334B}"/>
              </a:ext>
            </a:extLst>
          </p:cNvPr>
          <p:cNvSpPr/>
          <p:nvPr/>
        </p:nvSpPr>
        <p:spPr bwMode="ltGray">
          <a:xfrm>
            <a:off x="8369394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dirty="0">
              <a:sym typeface="Proxima Nova Light" charset="0"/>
            </a:endParaRP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7CA44ADC-5231-43AF-906E-A8DDA719957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72652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ECE4A802-C7F3-4538-B1FB-98E6F61276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686300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9" name="Picture Placeholder 35">
            <a:extLst>
              <a:ext uri="{FF2B5EF4-FFF2-40B4-BE49-F238E27FC236}">
                <a16:creationId xmlns:a16="http://schemas.microsoft.com/office/drawing/2014/main" id="{5B525A51-4DF4-42AF-82A8-0F5A36D8AA4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499948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17BFF989-2765-4A09-8AE8-E2ACBBE59A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6736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1</a:t>
            </a:r>
          </a:p>
        </p:txBody>
      </p:sp>
      <p:sp>
        <p:nvSpPr>
          <p:cNvPr id="43" name="Text Placeholder 41">
            <a:extLst>
              <a:ext uri="{FF2B5EF4-FFF2-40B4-BE49-F238E27FC236}">
                <a16:creationId xmlns:a16="http://schemas.microsoft.com/office/drawing/2014/main" id="{91C01F98-B49B-4B32-B1BB-B41E8EA15A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2663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2</a:t>
            </a:r>
          </a:p>
        </p:txBody>
      </p:sp>
      <p:sp>
        <p:nvSpPr>
          <p:cNvPr id="44" name="Text Placeholder 41">
            <a:extLst>
              <a:ext uri="{FF2B5EF4-FFF2-40B4-BE49-F238E27FC236}">
                <a16:creationId xmlns:a16="http://schemas.microsoft.com/office/drawing/2014/main" id="{FC7C06E5-7271-4B89-AB80-DD09B51F8A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06310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3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F8D4E7B-DD8A-4462-A940-F3A1029BC4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6D966-50E4-4144-82A3-60717BEFC2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E266DFD-040A-4C14-9640-CEEDD94BCA8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1653155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with Body Cop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F289E38-44F5-4D8D-9EE0-619201D57247}"/>
              </a:ext>
            </a:extLst>
          </p:cNvPr>
          <p:cNvSpPr/>
          <p:nvPr/>
        </p:nvSpPr>
        <p:spPr bwMode="white">
          <a:xfrm>
            <a:off x="0" y="6249122"/>
            <a:ext cx="12192000" cy="604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640C6A-CF77-4953-9AD6-63845305FE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6580124" cy="89797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5662183-DD4B-4458-ABD2-C710415E28ED}"/>
              </a:ext>
            </a:extLst>
          </p:cNvPr>
          <p:cNvSpPr/>
          <p:nvPr/>
        </p:nvSpPr>
        <p:spPr bwMode="ltGray">
          <a:xfrm>
            <a:off x="7244184" y="647700"/>
            <a:ext cx="7710066" cy="7710066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dirty="0">
              <a:sym typeface="Proxima Nova Light" charset="0"/>
            </a:endParaRPr>
          </a:p>
        </p:txBody>
      </p:sp>
      <p:sp>
        <p:nvSpPr>
          <p:cNvPr id="9" name="Picture Placeholder 35">
            <a:extLst>
              <a:ext uri="{FF2B5EF4-FFF2-40B4-BE49-F238E27FC236}">
                <a16:creationId xmlns:a16="http://schemas.microsoft.com/office/drawing/2014/main" id="{B6EFA928-550A-425C-9E54-627E2710A12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73517" y="1375262"/>
            <a:ext cx="6251400" cy="6254942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A5E399-4DEC-4925-BE64-4EBC5F4C64A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FD2725-2034-48A2-8BB6-47D844A186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3776" y="1306513"/>
            <a:ext cx="5741924" cy="48704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4065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CF28A28-4922-4916-AFC6-845CCE61E5FF}"/>
              </a:ext>
            </a:extLst>
          </p:cNvPr>
          <p:cNvSpPr/>
          <p:nvPr userDrawn="1"/>
        </p:nvSpPr>
        <p:spPr>
          <a:xfrm>
            <a:off x="0" y="2308250"/>
            <a:ext cx="12192000" cy="2241500"/>
          </a:xfrm>
          <a:prstGeom prst="rect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FEAD26-BB58-4888-8067-7BFE89073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308250"/>
            <a:ext cx="11204448" cy="2241500"/>
          </a:xfrm>
        </p:spPr>
        <p:txBody>
          <a:bodyPr vert="horz" lIns="457200" tIns="0" rIns="457200" bIns="0" rtlCol="0" anchor="ctr">
            <a:noAutofit/>
          </a:bodyPr>
          <a:lstStyle>
            <a:lvl1pPr algn="ctr">
              <a:defRPr lang="en-US" sz="600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F4B4470-AF44-490D-B3D0-FE6FB03B6585}"/>
              </a:ext>
            </a:extLst>
          </p:cNvPr>
          <p:cNvSpPr/>
          <p:nvPr userDrawn="1"/>
        </p:nvSpPr>
        <p:spPr>
          <a:xfrm>
            <a:off x="132899" y="6218787"/>
            <a:ext cx="11926202" cy="325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5679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>
            <a:extLst>
              <a:ext uri="{FF2B5EF4-FFF2-40B4-BE49-F238E27FC236}">
                <a16:creationId xmlns:a16="http://schemas.microsoft.com/office/drawing/2014/main" id="{E963FA91-2E8D-4668-A0A8-B78EA30819AA}"/>
              </a:ext>
            </a:extLst>
          </p:cNvPr>
          <p:cNvSpPr>
            <a:spLocks noEditPoints="1"/>
          </p:cNvSpPr>
          <p:nvPr/>
        </p:nvSpPr>
        <p:spPr bwMode="ltGray">
          <a:xfrm>
            <a:off x="2050147" y="0"/>
            <a:ext cx="8091707" cy="6858000"/>
          </a:xfrm>
          <a:custGeom>
            <a:avLst/>
            <a:gdLst>
              <a:gd name="T0" fmla="*/ 1079 w 3392"/>
              <a:gd name="T1" fmla="*/ 2884 h 2884"/>
              <a:gd name="T2" fmla="*/ 803 w 3392"/>
              <a:gd name="T3" fmla="*/ 2884 h 2884"/>
              <a:gd name="T4" fmla="*/ 0 w 3392"/>
              <a:gd name="T5" fmla="*/ 1442 h 2884"/>
              <a:gd name="T6" fmla="*/ 803 w 3392"/>
              <a:gd name="T7" fmla="*/ 0 h 2884"/>
              <a:gd name="T8" fmla="*/ 1079 w 3392"/>
              <a:gd name="T9" fmla="*/ 0 h 2884"/>
              <a:gd name="T10" fmla="*/ 128 w 3392"/>
              <a:gd name="T11" fmla="*/ 1442 h 2884"/>
              <a:gd name="T12" fmla="*/ 1079 w 3392"/>
              <a:gd name="T13" fmla="*/ 2884 h 2884"/>
              <a:gd name="T14" fmla="*/ 3264 w 3392"/>
              <a:gd name="T15" fmla="*/ 1442 h 2884"/>
              <a:gd name="T16" fmla="*/ 2313 w 3392"/>
              <a:gd name="T17" fmla="*/ 2884 h 2884"/>
              <a:gd name="T18" fmla="*/ 2589 w 3392"/>
              <a:gd name="T19" fmla="*/ 2884 h 2884"/>
              <a:gd name="T20" fmla="*/ 3392 w 3392"/>
              <a:gd name="T21" fmla="*/ 1442 h 2884"/>
              <a:gd name="T22" fmla="*/ 2589 w 3392"/>
              <a:gd name="T23" fmla="*/ 0 h 2884"/>
              <a:gd name="T24" fmla="*/ 2313 w 3392"/>
              <a:gd name="T25" fmla="*/ 0 h 2884"/>
              <a:gd name="T26" fmla="*/ 3264 w 3392"/>
              <a:gd name="T27" fmla="*/ 1442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392" h="2884">
                <a:moveTo>
                  <a:pt x="1079" y="2884"/>
                </a:moveTo>
                <a:cubicBezTo>
                  <a:pt x="803" y="2884"/>
                  <a:pt x="803" y="2884"/>
                  <a:pt x="803" y="2884"/>
                </a:cubicBezTo>
                <a:cubicBezTo>
                  <a:pt x="321" y="2585"/>
                  <a:pt x="0" y="2051"/>
                  <a:pt x="0" y="1442"/>
                </a:cubicBezTo>
                <a:cubicBezTo>
                  <a:pt x="0" y="833"/>
                  <a:pt x="321" y="299"/>
                  <a:pt x="803" y="0"/>
                </a:cubicBezTo>
                <a:cubicBezTo>
                  <a:pt x="1079" y="0"/>
                  <a:pt x="1079" y="0"/>
                  <a:pt x="1079" y="0"/>
                </a:cubicBezTo>
                <a:cubicBezTo>
                  <a:pt x="520" y="240"/>
                  <a:pt x="128" y="795"/>
                  <a:pt x="128" y="1442"/>
                </a:cubicBezTo>
                <a:cubicBezTo>
                  <a:pt x="128" y="2089"/>
                  <a:pt x="520" y="2644"/>
                  <a:pt x="1079" y="2884"/>
                </a:cubicBezTo>
                <a:close/>
                <a:moveTo>
                  <a:pt x="3264" y="1442"/>
                </a:moveTo>
                <a:cubicBezTo>
                  <a:pt x="3264" y="2089"/>
                  <a:pt x="2872" y="2644"/>
                  <a:pt x="2313" y="2884"/>
                </a:cubicBezTo>
                <a:cubicBezTo>
                  <a:pt x="2589" y="2884"/>
                  <a:pt x="2589" y="2884"/>
                  <a:pt x="2589" y="2884"/>
                </a:cubicBezTo>
                <a:cubicBezTo>
                  <a:pt x="3071" y="2585"/>
                  <a:pt x="3392" y="2051"/>
                  <a:pt x="3392" y="1442"/>
                </a:cubicBezTo>
                <a:cubicBezTo>
                  <a:pt x="3392" y="833"/>
                  <a:pt x="3071" y="299"/>
                  <a:pt x="2589" y="0"/>
                </a:cubicBezTo>
                <a:cubicBezTo>
                  <a:pt x="2313" y="0"/>
                  <a:pt x="2313" y="0"/>
                  <a:pt x="2313" y="0"/>
                </a:cubicBezTo>
                <a:cubicBezTo>
                  <a:pt x="2872" y="240"/>
                  <a:pt x="3264" y="795"/>
                  <a:pt x="3264" y="1442"/>
                </a:cubicBez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12" name="Content Placeholder 13">
            <a:extLst>
              <a:ext uri="{FF2B5EF4-FFF2-40B4-BE49-F238E27FC236}">
                <a16:creationId xmlns:a16="http://schemas.microsoft.com/office/drawing/2014/main" id="{B9D677F4-4749-47B1-8AFA-DFA6D872EF2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293257" y="2004515"/>
            <a:ext cx="7605486" cy="284897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152396" indent="-152396" algn="ctr" defTabSz="914377" rtl="0" eaLnBrk="0" fontAlgn="base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SzPct val="100000"/>
              <a:buNone/>
              <a:defRPr lang="en-US" sz="6000" b="0" i="0" kern="1200" baseline="0" dirty="0">
                <a:solidFill>
                  <a:schemeClr val="accent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  <a:sym typeface="Proxima Nova" charset="0"/>
              </a:defRPr>
            </a:lvl1pPr>
            <a:lvl2pPr marL="171445" marR="0" indent="0" algn="l" defTabSz="914377" rtl="0" eaLnBrk="0" fontAlgn="base" latinLnBrk="0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Key Statement</a:t>
            </a:r>
            <a:br>
              <a:rPr lang="en-US"/>
            </a:br>
            <a:r>
              <a:rPr lang="en-US"/>
              <a:t>Placehold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C2602FE-8B27-4067-87FB-0DAB3C428E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3499" y="6051007"/>
            <a:ext cx="955343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462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olid 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Text goes here.</a:t>
            </a:r>
          </a:p>
        </p:txBody>
      </p:sp>
    </p:spTree>
    <p:extLst>
      <p:ext uri="{BB962C8B-B14F-4D97-AF65-F5344CB8AC3E}">
        <p14:creationId xmlns:p14="http://schemas.microsoft.com/office/powerpoint/2010/main" val="1042179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adient Background">
    <p:bg>
      <p:bgPr>
        <a:gradFill>
          <a:gsLst>
            <a:gs pos="0">
              <a:srgbClr val="009AE0"/>
            </a:gs>
            <a:gs pos="100000">
              <a:srgbClr val="00A846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Text goes here.</a:t>
            </a:r>
          </a:p>
        </p:txBody>
      </p:sp>
    </p:spTree>
    <p:extLst>
      <p:ext uri="{BB962C8B-B14F-4D97-AF65-F5344CB8AC3E}">
        <p14:creationId xmlns:p14="http://schemas.microsoft.com/office/powerpoint/2010/main" val="1966720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pener/Clos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AF9195B-6ED2-49AC-9218-522143C81B76}"/>
              </a:ext>
            </a:extLst>
          </p:cNvPr>
          <p:cNvSpPr/>
          <p:nvPr/>
        </p:nvSpPr>
        <p:spPr bwMode="ltGray">
          <a:xfrm>
            <a:off x="1368552" y="0"/>
            <a:ext cx="9454896" cy="6858000"/>
          </a:xfrm>
          <a:custGeom>
            <a:avLst/>
            <a:gdLst>
              <a:gd name="connsiteX0" fmla="*/ 1475039 w 9454896"/>
              <a:gd name="connsiteY0" fmla="*/ 0 h 6858000"/>
              <a:gd name="connsiteX1" fmla="*/ 7979857 w 9454896"/>
              <a:gd name="connsiteY1" fmla="*/ 0 h 6858000"/>
              <a:gd name="connsiteX2" fmla="*/ 8070258 w 9454896"/>
              <a:gd name="connsiteY2" fmla="*/ 86190 h 6858000"/>
              <a:gd name="connsiteX3" fmla="*/ 9454896 w 9454896"/>
              <a:gd name="connsiteY3" fmla="*/ 3429000 h 6858000"/>
              <a:gd name="connsiteX4" fmla="*/ 8070258 w 9454896"/>
              <a:gd name="connsiteY4" fmla="*/ 6771811 h 6858000"/>
              <a:gd name="connsiteX5" fmla="*/ 7979857 w 9454896"/>
              <a:gd name="connsiteY5" fmla="*/ 6858000 h 6858000"/>
              <a:gd name="connsiteX6" fmla="*/ 1475039 w 9454896"/>
              <a:gd name="connsiteY6" fmla="*/ 6858000 h 6858000"/>
              <a:gd name="connsiteX7" fmla="*/ 1384638 w 9454896"/>
              <a:gd name="connsiteY7" fmla="*/ 6771811 h 6858000"/>
              <a:gd name="connsiteX8" fmla="*/ 0 w 9454896"/>
              <a:gd name="connsiteY8" fmla="*/ 3429000 h 6858000"/>
              <a:gd name="connsiteX9" fmla="*/ 1384638 w 9454896"/>
              <a:gd name="connsiteY9" fmla="*/ 8619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454896" h="6858000">
                <a:moveTo>
                  <a:pt x="1475039" y="0"/>
                </a:moveTo>
                <a:lnTo>
                  <a:pt x="7979857" y="0"/>
                </a:lnTo>
                <a:lnTo>
                  <a:pt x="8070258" y="86190"/>
                </a:lnTo>
                <a:cubicBezTo>
                  <a:pt x="8925758" y="941690"/>
                  <a:pt x="9454896" y="2123552"/>
                  <a:pt x="9454896" y="3429000"/>
                </a:cubicBezTo>
                <a:cubicBezTo>
                  <a:pt x="9454896" y="4734449"/>
                  <a:pt x="8925758" y="5916311"/>
                  <a:pt x="8070258" y="6771811"/>
                </a:cubicBezTo>
                <a:lnTo>
                  <a:pt x="7979857" y="6858000"/>
                </a:lnTo>
                <a:lnTo>
                  <a:pt x="1475039" y="6858000"/>
                </a:lnTo>
                <a:lnTo>
                  <a:pt x="1384638" y="6771811"/>
                </a:lnTo>
                <a:cubicBezTo>
                  <a:pt x="529138" y="5916311"/>
                  <a:pt x="0" y="4734449"/>
                  <a:pt x="0" y="3429000"/>
                </a:cubicBezTo>
                <a:cubicBezTo>
                  <a:pt x="0" y="2123552"/>
                  <a:pt x="529138" y="941690"/>
                  <a:pt x="1384638" y="86190"/>
                </a:cubicBez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dirty="0">
              <a:sym typeface="Proxima Nova Light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7E50BA-27C6-47D2-8515-4845557F9C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5200" y="2176780"/>
            <a:ext cx="5181600" cy="2504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373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o Not Use">
    <p:bg>
      <p:bgPr>
        <a:solidFill>
          <a:srgbClr val="FC931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712D05C3-B4E4-435F-A620-EDB17198F734}"/>
              </a:ext>
            </a:extLst>
          </p:cNvPr>
          <p:cNvSpPr txBox="1">
            <a:spLocks/>
          </p:cNvSpPr>
          <p:nvPr/>
        </p:nvSpPr>
        <p:spPr>
          <a:xfrm>
            <a:off x="838200" y="2587724"/>
            <a:ext cx="10515600" cy="1716419"/>
          </a:xfrm>
          <a:prstGeom prst="rect">
            <a:avLst/>
          </a:prstGeom>
        </p:spPr>
        <p:txBody>
          <a:bodyPr vert="horz" lIns="0" tIns="121920" rIns="0" bIns="0" rtlCol="0" anchor="ctr">
            <a:noAutofit/>
          </a:bodyPr>
          <a:lstStyle>
            <a:lvl1pPr algn="ctr" defTabSz="685800" rtl="0" eaLnBrk="0" fontAlgn="base" hangingPunct="0">
              <a:lnSpc>
                <a:spcPct val="68000"/>
              </a:lnSpc>
              <a:spcBef>
                <a:spcPct val="0"/>
              </a:spcBef>
              <a:spcAft>
                <a:spcPct val="0"/>
              </a:spcAft>
              <a:defRPr kumimoji="0" lang="en-US" sz="3200" b="1" i="0" u="none" strike="noStrike" kern="1200" cap="all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1714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3429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5143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6858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 sz="4267" dirty="0"/>
              <a:t>any masters that appear after this warning are </a:t>
            </a:r>
            <a:r>
              <a:rPr lang="en-US" sz="4267" dirty="0">
                <a:solidFill>
                  <a:srgbClr val="CD0000"/>
                </a:solidFill>
              </a:rPr>
              <a:t>rogue layouts </a:t>
            </a:r>
            <a:r>
              <a:rPr lang="en-US" sz="4267" dirty="0">
                <a:solidFill>
                  <a:srgbClr val="F9451B"/>
                </a:solidFill>
              </a:rPr>
              <a:t/>
            </a:r>
            <a:br>
              <a:rPr lang="en-US" sz="4267" dirty="0">
                <a:solidFill>
                  <a:srgbClr val="F9451B"/>
                </a:solidFill>
              </a:rPr>
            </a:br>
            <a:r>
              <a:rPr lang="en-US" sz="4267" dirty="0"/>
              <a:t>and should be deleted</a:t>
            </a:r>
          </a:p>
        </p:txBody>
      </p:sp>
      <p:sp>
        <p:nvSpPr>
          <p:cNvPr id="8" name="Freeform 11">
            <a:extLst>
              <a:ext uri="{FF2B5EF4-FFF2-40B4-BE49-F238E27FC236}">
                <a16:creationId xmlns:a16="http://schemas.microsoft.com/office/drawing/2014/main" id="{5525B98F-982E-4377-912F-012B18901CDD}"/>
              </a:ext>
            </a:extLst>
          </p:cNvPr>
          <p:cNvSpPr>
            <a:spLocks/>
          </p:cNvSpPr>
          <p:nvPr/>
        </p:nvSpPr>
        <p:spPr bwMode="invGray">
          <a:xfrm rot="10800000">
            <a:off x="5815727" y="4750775"/>
            <a:ext cx="558432" cy="411210"/>
          </a:xfrm>
          <a:custGeom>
            <a:avLst/>
            <a:gdLst>
              <a:gd name="T0" fmla="*/ 14 w 237"/>
              <a:gd name="T1" fmla="*/ 195 h 197"/>
              <a:gd name="T2" fmla="*/ 8 w 237"/>
              <a:gd name="T3" fmla="*/ 194 h 197"/>
              <a:gd name="T4" fmla="*/ 3 w 237"/>
              <a:gd name="T5" fmla="*/ 177 h 197"/>
              <a:gd name="T6" fmla="*/ 99 w 237"/>
              <a:gd name="T7" fmla="*/ 12 h 197"/>
              <a:gd name="T8" fmla="*/ 119 w 237"/>
              <a:gd name="T9" fmla="*/ 0 h 197"/>
              <a:gd name="T10" fmla="*/ 138 w 237"/>
              <a:gd name="T11" fmla="*/ 12 h 197"/>
              <a:gd name="T12" fmla="*/ 234 w 237"/>
              <a:gd name="T13" fmla="*/ 177 h 197"/>
              <a:gd name="T14" fmla="*/ 230 w 237"/>
              <a:gd name="T15" fmla="*/ 194 h 197"/>
              <a:gd name="T16" fmla="*/ 213 w 237"/>
              <a:gd name="T17" fmla="*/ 189 h 197"/>
              <a:gd name="T18" fmla="*/ 119 w 237"/>
              <a:gd name="T19" fmla="*/ 26 h 197"/>
              <a:gd name="T20" fmla="*/ 24 w 237"/>
              <a:gd name="T21" fmla="*/ 189 h 197"/>
              <a:gd name="T22" fmla="*/ 14 w 237"/>
              <a:gd name="T23" fmla="*/ 195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7" h="197">
                <a:moveTo>
                  <a:pt x="14" y="195"/>
                </a:moveTo>
                <a:cubicBezTo>
                  <a:pt x="12" y="195"/>
                  <a:pt x="10" y="195"/>
                  <a:pt x="8" y="194"/>
                </a:cubicBezTo>
                <a:cubicBezTo>
                  <a:pt x="2" y="191"/>
                  <a:pt x="0" y="183"/>
                  <a:pt x="3" y="177"/>
                </a:cubicBezTo>
                <a:cubicBezTo>
                  <a:pt x="99" y="12"/>
                  <a:pt x="99" y="12"/>
                  <a:pt x="99" y="12"/>
                </a:cubicBezTo>
                <a:cubicBezTo>
                  <a:pt x="103" y="4"/>
                  <a:pt x="111" y="0"/>
                  <a:pt x="119" y="0"/>
                </a:cubicBezTo>
                <a:cubicBezTo>
                  <a:pt x="127" y="0"/>
                  <a:pt x="134" y="4"/>
                  <a:pt x="138" y="12"/>
                </a:cubicBezTo>
                <a:cubicBezTo>
                  <a:pt x="234" y="177"/>
                  <a:pt x="234" y="177"/>
                  <a:pt x="234" y="177"/>
                </a:cubicBezTo>
                <a:cubicBezTo>
                  <a:pt x="237" y="183"/>
                  <a:pt x="235" y="191"/>
                  <a:pt x="230" y="194"/>
                </a:cubicBezTo>
                <a:cubicBezTo>
                  <a:pt x="224" y="197"/>
                  <a:pt x="217" y="195"/>
                  <a:pt x="213" y="189"/>
                </a:cubicBezTo>
                <a:cubicBezTo>
                  <a:pt x="119" y="26"/>
                  <a:pt x="119" y="26"/>
                  <a:pt x="119" y="26"/>
                </a:cubicBezTo>
                <a:cubicBezTo>
                  <a:pt x="24" y="189"/>
                  <a:pt x="24" y="189"/>
                  <a:pt x="24" y="189"/>
                </a:cubicBezTo>
                <a:cubicBezTo>
                  <a:pt x="22" y="193"/>
                  <a:pt x="18" y="195"/>
                  <a:pt x="14" y="19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BD83303-64DB-4155-A239-5D0D737F0B38}"/>
              </a:ext>
            </a:extLst>
          </p:cNvPr>
          <p:cNvGrpSpPr/>
          <p:nvPr/>
        </p:nvGrpSpPr>
        <p:grpSpPr bwMode="black">
          <a:xfrm>
            <a:off x="5655735" y="1357760"/>
            <a:ext cx="880533" cy="783331"/>
            <a:chOff x="5046133" y="896938"/>
            <a:chExt cx="733425" cy="652463"/>
          </a:xfrm>
          <a:solidFill>
            <a:srgbClr val="FFFFFF"/>
          </a:solidFill>
        </p:grpSpPr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F109598A-4181-46AD-B31A-AE565CFA82A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046133" y="896938"/>
              <a:ext cx="733425" cy="652463"/>
            </a:xfrm>
            <a:custGeom>
              <a:avLst/>
              <a:gdLst>
                <a:gd name="T0" fmla="*/ 187 w 374"/>
                <a:gd name="T1" fmla="*/ 24 h 332"/>
                <a:gd name="T2" fmla="*/ 201 w 374"/>
                <a:gd name="T3" fmla="*/ 32 h 332"/>
                <a:gd name="T4" fmla="*/ 346 w 374"/>
                <a:gd name="T5" fmla="*/ 284 h 332"/>
                <a:gd name="T6" fmla="*/ 332 w 374"/>
                <a:gd name="T7" fmla="*/ 308 h 332"/>
                <a:gd name="T8" fmla="*/ 42 w 374"/>
                <a:gd name="T9" fmla="*/ 308 h 332"/>
                <a:gd name="T10" fmla="*/ 28 w 374"/>
                <a:gd name="T11" fmla="*/ 284 h 332"/>
                <a:gd name="T12" fmla="*/ 173 w 374"/>
                <a:gd name="T13" fmla="*/ 32 h 332"/>
                <a:gd name="T14" fmla="*/ 187 w 374"/>
                <a:gd name="T15" fmla="*/ 24 h 332"/>
                <a:gd name="T16" fmla="*/ 187 w 374"/>
                <a:gd name="T17" fmla="*/ 0 h 332"/>
                <a:gd name="T18" fmla="*/ 152 w 374"/>
                <a:gd name="T19" fmla="*/ 20 h 332"/>
                <a:gd name="T20" fmla="*/ 7 w 374"/>
                <a:gd name="T21" fmla="*/ 272 h 332"/>
                <a:gd name="T22" fmla="*/ 7 w 374"/>
                <a:gd name="T23" fmla="*/ 312 h 332"/>
                <a:gd name="T24" fmla="*/ 42 w 374"/>
                <a:gd name="T25" fmla="*/ 332 h 332"/>
                <a:gd name="T26" fmla="*/ 332 w 374"/>
                <a:gd name="T27" fmla="*/ 332 h 332"/>
                <a:gd name="T28" fmla="*/ 367 w 374"/>
                <a:gd name="T29" fmla="*/ 312 h 332"/>
                <a:gd name="T30" fmla="*/ 367 w 374"/>
                <a:gd name="T31" fmla="*/ 272 h 332"/>
                <a:gd name="T32" fmla="*/ 222 w 374"/>
                <a:gd name="T33" fmla="*/ 20 h 332"/>
                <a:gd name="T34" fmla="*/ 187 w 374"/>
                <a:gd name="T35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4" h="332">
                  <a:moveTo>
                    <a:pt x="187" y="24"/>
                  </a:moveTo>
                  <a:cubicBezTo>
                    <a:pt x="192" y="24"/>
                    <a:pt x="198" y="27"/>
                    <a:pt x="201" y="32"/>
                  </a:cubicBezTo>
                  <a:cubicBezTo>
                    <a:pt x="346" y="284"/>
                    <a:pt x="346" y="284"/>
                    <a:pt x="346" y="284"/>
                  </a:cubicBezTo>
                  <a:cubicBezTo>
                    <a:pt x="352" y="294"/>
                    <a:pt x="344" y="308"/>
                    <a:pt x="332" y="308"/>
                  </a:cubicBezTo>
                  <a:cubicBezTo>
                    <a:pt x="42" y="308"/>
                    <a:pt x="42" y="308"/>
                    <a:pt x="42" y="308"/>
                  </a:cubicBezTo>
                  <a:cubicBezTo>
                    <a:pt x="29" y="308"/>
                    <a:pt x="21" y="294"/>
                    <a:pt x="28" y="284"/>
                  </a:cubicBezTo>
                  <a:cubicBezTo>
                    <a:pt x="173" y="32"/>
                    <a:pt x="173" y="32"/>
                    <a:pt x="173" y="32"/>
                  </a:cubicBezTo>
                  <a:cubicBezTo>
                    <a:pt x="176" y="27"/>
                    <a:pt x="181" y="24"/>
                    <a:pt x="187" y="24"/>
                  </a:cubicBezTo>
                  <a:moveTo>
                    <a:pt x="187" y="0"/>
                  </a:moveTo>
                  <a:cubicBezTo>
                    <a:pt x="172" y="0"/>
                    <a:pt x="159" y="8"/>
                    <a:pt x="152" y="20"/>
                  </a:cubicBezTo>
                  <a:cubicBezTo>
                    <a:pt x="7" y="272"/>
                    <a:pt x="7" y="272"/>
                    <a:pt x="7" y="272"/>
                  </a:cubicBezTo>
                  <a:cubicBezTo>
                    <a:pt x="0" y="284"/>
                    <a:pt x="0" y="299"/>
                    <a:pt x="7" y="312"/>
                  </a:cubicBezTo>
                  <a:cubicBezTo>
                    <a:pt x="14" y="324"/>
                    <a:pt x="27" y="332"/>
                    <a:pt x="42" y="332"/>
                  </a:cubicBezTo>
                  <a:cubicBezTo>
                    <a:pt x="332" y="332"/>
                    <a:pt x="332" y="332"/>
                    <a:pt x="332" y="332"/>
                  </a:cubicBezTo>
                  <a:cubicBezTo>
                    <a:pt x="346" y="332"/>
                    <a:pt x="359" y="324"/>
                    <a:pt x="367" y="312"/>
                  </a:cubicBezTo>
                  <a:cubicBezTo>
                    <a:pt x="374" y="299"/>
                    <a:pt x="374" y="284"/>
                    <a:pt x="367" y="272"/>
                  </a:cubicBezTo>
                  <a:cubicBezTo>
                    <a:pt x="222" y="20"/>
                    <a:pt x="222" y="20"/>
                    <a:pt x="222" y="20"/>
                  </a:cubicBezTo>
                  <a:cubicBezTo>
                    <a:pt x="214" y="8"/>
                    <a:pt x="201" y="0"/>
                    <a:pt x="1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5E0C7EED-60F5-4F6C-91A7-D4CFB8BCAED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381096" y="1139826"/>
              <a:ext cx="61913" cy="261938"/>
            </a:xfrm>
            <a:custGeom>
              <a:avLst/>
              <a:gdLst>
                <a:gd name="T0" fmla="*/ 16 w 32"/>
                <a:gd name="T1" fmla="*/ 101 h 133"/>
                <a:gd name="T2" fmla="*/ 32 w 32"/>
                <a:gd name="T3" fmla="*/ 117 h 133"/>
                <a:gd name="T4" fmla="*/ 16 w 32"/>
                <a:gd name="T5" fmla="*/ 133 h 133"/>
                <a:gd name="T6" fmla="*/ 0 w 32"/>
                <a:gd name="T7" fmla="*/ 117 h 133"/>
                <a:gd name="T8" fmla="*/ 16 w 32"/>
                <a:gd name="T9" fmla="*/ 101 h 133"/>
                <a:gd name="T10" fmla="*/ 1 w 32"/>
                <a:gd name="T11" fmla="*/ 0 h 133"/>
                <a:gd name="T12" fmla="*/ 31 w 32"/>
                <a:gd name="T13" fmla="*/ 0 h 133"/>
                <a:gd name="T14" fmla="*/ 27 w 32"/>
                <a:gd name="T15" fmla="*/ 88 h 133"/>
                <a:gd name="T16" fmla="*/ 5 w 32"/>
                <a:gd name="T17" fmla="*/ 88 h 133"/>
                <a:gd name="T18" fmla="*/ 1 w 32"/>
                <a:gd name="T19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133">
                  <a:moveTo>
                    <a:pt x="16" y="101"/>
                  </a:moveTo>
                  <a:cubicBezTo>
                    <a:pt x="24" y="101"/>
                    <a:pt x="32" y="108"/>
                    <a:pt x="32" y="117"/>
                  </a:cubicBezTo>
                  <a:cubicBezTo>
                    <a:pt x="32" y="125"/>
                    <a:pt x="24" y="133"/>
                    <a:pt x="16" y="133"/>
                  </a:cubicBezTo>
                  <a:cubicBezTo>
                    <a:pt x="7" y="133"/>
                    <a:pt x="0" y="125"/>
                    <a:pt x="0" y="117"/>
                  </a:cubicBezTo>
                  <a:cubicBezTo>
                    <a:pt x="0" y="108"/>
                    <a:pt x="7" y="101"/>
                    <a:pt x="16" y="101"/>
                  </a:cubicBezTo>
                  <a:close/>
                  <a:moveTo>
                    <a:pt x="1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27" y="88"/>
                    <a:pt x="27" y="88"/>
                    <a:pt x="27" y="88"/>
                  </a:cubicBezTo>
                  <a:cubicBezTo>
                    <a:pt x="5" y="88"/>
                    <a:pt x="5" y="88"/>
                    <a:pt x="5" y="88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581366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4BFCF5BB-9E8B-4217-967B-E69B7177F9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16256" y="1003300"/>
            <a:ext cx="5481968" cy="495300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Bef>
                <a:spcPts val="1200"/>
              </a:spcBef>
              <a:spcAft>
                <a:spcPts val="0"/>
              </a:spcAft>
              <a:defRPr sz="2800" b="1">
                <a:latin typeface="+mj-lt"/>
              </a:defRPr>
            </a:lvl1pPr>
            <a:lvl2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800" b="1">
                <a:solidFill>
                  <a:schemeClr val="accent1"/>
                </a:solidFill>
              </a:defRPr>
            </a:lvl2pPr>
            <a:lvl3pPr marL="228600" indent="-22860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80000"/>
              <a:buFont typeface="Arial" panose="020B0604020202020204" pitchFamily="34" charset="0"/>
              <a:buChar char="•"/>
              <a:defRPr sz="2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401638" indent="-173038">
              <a:buFont typeface="Arial" panose="020B0604020202020204" pitchFamily="34" charset="0"/>
              <a:buChar char="̵"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000"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</a:t>
            </a:r>
          </a:p>
          <a:p>
            <a:pPr lvl="6"/>
            <a:r>
              <a:rPr lang="en-US"/>
              <a:t>Seven</a:t>
            </a:r>
          </a:p>
          <a:p>
            <a:pPr lvl="7"/>
            <a:r>
              <a:rPr lang="en-US"/>
              <a:t>Eight</a:t>
            </a:r>
          </a:p>
          <a:p>
            <a:pPr lvl="8"/>
            <a:r>
              <a:rPr lang="en-US"/>
              <a:t>Nin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662846C-0294-4C31-A1AF-8DE92524D15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CCI Proprietary and Confidential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B233E9D7-7A6D-4859-8727-AD3BE12D4773}"/>
              </a:ext>
            </a:extLst>
          </p:cNvPr>
          <p:cNvSpPr txBox="1">
            <a:spLocks/>
          </p:cNvSpPr>
          <p:nvPr userDrawn="1"/>
        </p:nvSpPr>
        <p:spPr>
          <a:xfrm>
            <a:off x="645898" y="1694088"/>
            <a:ext cx="5647028" cy="17426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228594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457189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685783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914377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 dirty="0"/>
              <a:t>Agenda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9E10F5BB-8BA0-4329-B8A2-D24501D14D4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448630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A58EC3-CBBE-40C6-BACD-B91C5DEB98D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CCI Proprietary and Confidentia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9B1E174-6AB6-4FB5-9BF5-AB5031CB1BF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321711"/>
            <a:ext cx="11204448" cy="4854722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2E0346-B328-429D-9C68-41755BD260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CCI Proprietary and Confidentia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C4681B6-8BF4-4456-8C80-C5E766998CA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1354220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with Subtitle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871133"/>
            <a:ext cx="11204448" cy="4305300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2E0346-B328-429D-9C68-41755BD260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CCI Proprietary and Confidential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64B0CAA-EEE3-4C6E-B655-8905CBF48B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93776" y="1093376"/>
            <a:ext cx="11204448" cy="418570"/>
          </a:xfrm>
        </p:spPr>
        <p:txBody>
          <a:bodyPr anchor="t"/>
          <a:lstStyle>
            <a:lvl1pPr marL="0" indent="0">
              <a:buNone/>
              <a:defRPr sz="22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holder sub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0BDF31F-F938-4A4D-81AD-32D2EAFABA6D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2765782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(Two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Text Placeholder 14">
            <a:extLst>
              <a:ext uri="{FF2B5EF4-FFF2-40B4-BE49-F238E27FC236}">
                <a16:creationId xmlns:a16="http://schemas.microsoft.com/office/drawing/2014/main" id="{2DA0B400-1FD0-4E71-99C4-0FFC675A0A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16256" y="1321711"/>
            <a:ext cx="5481968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5A309F3-1319-4540-8AC3-1F65844DD0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3775" y="1321711"/>
            <a:ext cx="5481967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B0EDF6-74F5-4BCC-AA48-B7297D5DC9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E264CB-2F28-4218-974F-746E15F9652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CCI Proprietary and Confidentia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9F081E9-D767-4156-81FC-0DF0FA8985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29" Type="http://schemas.openxmlformats.org/officeDocument/2006/relationships/image" Target="../media/image5.png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theme" Target="../theme/theme2.xml"/><Relationship Id="rId28" Type="http://schemas.openxmlformats.org/officeDocument/2006/relationships/image" Target="../media/image6.emf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E58A5538-B5E1-44AC-8F98-62A64CCF24E0}"/>
              </a:ext>
            </a:extLst>
          </p:cNvPr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10961934" y="6259494"/>
            <a:ext cx="749808" cy="277430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C20463F-B296-48A2-8B4F-20A01E6766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3776" y="1321711"/>
            <a:ext cx="11204448" cy="48550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</a:t>
            </a:r>
          </a:p>
          <a:p>
            <a:pPr lvl="6"/>
            <a:r>
              <a:rPr lang="en-US"/>
              <a:t>Seven</a:t>
            </a:r>
          </a:p>
          <a:p>
            <a:pPr lvl="7"/>
            <a:r>
              <a:rPr lang="en-US"/>
              <a:t>Eight</a:t>
            </a:r>
          </a:p>
          <a:p>
            <a:pPr lvl="8"/>
            <a:r>
              <a:rPr lang="en-US"/>
              <a:t>Nine</a:t>
            </a:r>
          </a:p>
        </p:txBody>
      </p:sp>
      <p:sp>
        <p:nvSpPr>
          <p:cNvPr id="17" name="Title Placeholder 16">
            <a:extLst>
              <a:ext uri="{FF2B5EF4-FFF2-40B4-BE49-F238E27FC236}">
                <a16:creationId xmlns:a16="http://schemas.microsoft.com/office/drawing/2014/main" id="{439D7FD4-A5EE-4C7C-950C-AF20BA5F1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7"/>
            <a:ext cx="11204448" cy="897970"/>
          </a:xfrm>
          <a:prstGeom prst="rect">
            <a:avLst/>
          </a:prstGeom>
        </p:spPr>
        <p:txBody>
          <a:bodyPr vert="horz" lIns="0" tIns="18288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A9EF9085-2652-4F8A-8E20-FE186217CC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ltGray">
          <a:xfrm>
            <a:off x="489727" y="6515709"/>
            <a:ext cx="1471154" cy="2068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CI Proprietary and Confidentia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305A1D9-4FF0-424F-8965-1733D133AAF3}"/>
              </a:ext>
            </a:extLst>
          </p:cNvPr>
          <p:cNvSpPr>
            <a:spLocks/>
          </p:cNvSpPr>
          <p:nvPr userDrawn="1"/>
        </p:nvSpPr>
        <p:spPr bwMode="ltGray">
          <a:xfrm>
            <a:off x="5927527" y="6515709"/>
            <a:ext cx="336947" cy="206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1pPr>
            <a:lvl2pPr marL="742950" indent="-28575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2pPr>
            <a:lvl3pPr marL="1143000" indent="-22860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3pPr>
            <a:lvl4pPr marL="1600200" indent="-22860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4pPr>
            <a:lvl5pPr marL="2057400" indent="-22860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5pPr>
            <a:lvl6pPr marL="25146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6pPr>
            <a:lvl7pPr marL="29718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7pPr>
            <a:lvl8pPr marL="34290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8pPr>
            <a:lvl9pPr marL="38862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9pPr>
          </a:lstStyle>
          <a:p>
            <a:pPr algn="ctr" defTabSz="685800" fontAlgn="base" hangingPunct="0">
              <a:spcBef>
                <a:spcPct val="0"/>
              </a:spcBef>
              <a:spcAft>
                <a:spcPct val="0"/>
              </a:spcAft>
            </a:pPr>
            <a:fld id="{4A8294F5-3876-0A48-B245-F7D64BCA98A8}" type="slidenum">
              <a:rPr lang="uk-UA" altLang="en-US" sz="800">
                <a:solidFill>
                  <a:schemeClr val="bg1">
                    <a:lumMod val="65000"/>
                  </a:schemeClr>
                </a:solidFill>
                <a:latin typeface="+mn-lt"/>
                <a:ea typeface="Proxima Nova" charset="0"/>
                <a:cs typeface="Proxima Nova" charset="0"/>
                <a:sym typeface="Proxima Nova" charset="0"/>
              </a:rPr>
              <a:pPr algn="ctr" defTabSz="68580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800" dirty="0">
              <a:solidFill>
                <a:schemeClr val="bg1">
                  <a:lumMod val="65000"/>
                </a:schemeClr>
              </a:solidFill>
              <a:latin typeface="+mn-lt"/>
              <a:ea typeface="Proxima Nova" charset="0"/>
              <a:cs typeface="Proxima Nova" charset="0"/>
              <a:sym typeface="Proxima Nova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661A87E-B7D3-440D-9E6F-68EF445B7FC2}"/>
              </a:ext>
            </a:extLst>
          </p:cNvPr>
          <p:cNvSpPr/>
          <p:nvPr userDrawn="1"/>
        </p:nvSpPr>
        <p:spPr>
          <a:xfrm>
            <a:off x="1354975" y="6398435"/>
            <a:ext cx="9387680" cy="45719"/>
          </a:xfrm>
          <a:prstGeom prst="rect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414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18" r:id="rId2"/>
    <p:sldLayoutId id="2147483772" r:id="rId3"/>
    <p:sldLayoutId id="2147483773" r:id="rId4"/>
    <p:sldLayoutId id="2147483753" r:id="rId5"/>
    <p:sldLayoutId id="2147483699" r:id="rId6"/>
    <p:sldLayoutId id="2147483768" r:id="rId7"/>
    <p:sldLayoutId id="2147483776" r:id="rId8"/>
    <p:sldLayoutId id="2147483700" r:id="rId9"/>
    <p:sldLayoutId id="2147483702" r:id="rId10"/>
    <p:sldLayoutId id="2147483760" r:id="rId11"/>
    <p:sldLayoutId id="2147483752" r:id="rId12"/>
    <p:sldLayoutId id="2147483771" r:id="rId13"/>
    <p:sldLayoutId id="2147483775" r:id="rId14"/>
    <p:sldLayoutId id="2147483762" r:id="rId15"/>
    <p:sldLayoutId id="2147483755" r:id="rId16"/>
    <p:sldLayoutId id="2147483749" r:id="rId17"/>
    <p:sldLayoutId id="2147483769" r:id="rId18"/>
    <p:sldLayoutId id="2147483774" r:id="rId19"/>
    <p:sldLayoutId id="2147483711" r:id="rId20"/>
    <p:sldLayoutId id="2147483750" r:id="rId21"/>
    <p:sldLayoutId id="2147483777" r:id="rId22"/>
  </p:sldLayoutIdLst>
  <p:hf hdr="0" dt="0"/>
  <p:txStyles>
    <p:titleStyle>
      <a:lvl1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kumimoji="0" lang="en-US" sz="3600" b="0" i="0" u="none" strike="noStrike" kern="1200" cap="none" spc="0" normalizeH="0" baseline="0" smtClean="0">
          <a:ln>
            <a:noFill/>
          </a:ln>
          <a:solidFill>
            <a:schemeClr val="accent2"/>
          </a:solidFill>
          <a:effectLst/>
          <a:uLnTx/>
          <a:uFillTx/>
          <a:latin typeface="Calibri" panose="020F0502020204030204" pitchFamily="34" charset="0"/>
          <a:ea typeface="+mj-ea"/>
          <a:cs typeface="Calibri" panose="020F0502020204030204" pitchFamily="34" charset="0"/>
          <a:sym typeface="Proxima Nova Black" charset="0"/>
        </a:defRPr>
      </a:lvl1pPr>
      <a:lvl2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2pPr>
      <a:lvl3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3pPr>
      <a:lvl4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4pPr>
      <a:lvl5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5pPr>
      <a:lvl6pPr marL="228594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6pPr>
      <a:lvl7pPr marL="457189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7pPr>
      <a:lvl8pPr marL="685783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8pPr>
      <a:lvl9pPr marL="914377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9pPr>
    </p:titleStyle>
    <p:bodyStyle>
      <a:lvl1pPr marL="0" indent="0" algn="l" defTabSz="914377" rtl="0" eaLnBrk="0" fontAlgn="base" hangingPunct="0">
        <a:lnSpc>
          <a:spcPct val="90000"/>
        </a:lnSpc>
        <a:spcBef>
          <a:spcPts val="1200"/>
        </a:spcBef>
        <a:spcAft>
          <a:spcPts val="0"/>
        </a:spcAft>
        <a:buSzPct val="100000"/>
        <a:buFont typeface="Arial" panose="020B0604020202020204" pitchFamily="34" charset="0"/>
        <a:buChar char="​"/>
        <a:defRPr lang="en-US" sz="2000" b="0" kern="1200" dirty="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 Light" panose="020F0302020204030204" pitchFamily="34" charset="0"/>
          <a:sym typeface="Proxima Nova" charset="0"/>
        </a:defRPr>
      </a:lvl1pPr>
      <a:lvl2pPr marL="228594" indent="-228594" algn="l" defTabSz="914377" rtl="0" eaLnBrk="0" fontAlgn="base" hangingPunct="0">
        <a:lnSpc>
          <a:spcPct val="90000"/>
        </a:lnSpc>
        <a:spcBef>
          <a:spcPts val="667"/>
        </a:spcBef>
        <a:spcAft>
          <a:spcPts val="267"/>
        </a:spcAft>
        <a:buSzPct val="100000"/>
        <a:buFont typeface="Arial" panose="020B0604020202020204" pitchFamily="34" charset="0"/>
        <a:buChar char="•"/>
        <a:defRPr sz="16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2pPr>
      <a:lvl3pPr marL="455613" indent="-225425" algn="l" defTabSz="914377" rtl="0" eaLnBrk="0" fontAlgn="base" hangingPunct="0">
        <a:lnSpc>
          <a:spcPct val="85000"/>
        </a:lnSpc>
        <a:spcBef>
          <a:spcPts val="400"/>
        </a:spcBef>
        <a:spcAft>
          <a:spcPts val="267"/>
        </a:spcAft>
        <a:buClr>
          <a:schemeClr val="tx1">
            <a:lumMod val="65000"/>
            <a:lumOff val="35000"/>
          </a:schemeClr>
        </a:buClr>
        <a:buSzPct val="70000"/>
        <a:buFont typeface="Arial" panose="020B0604020202020204" pitchFamily="34" charset="0"/>
        <a:buChar char="̵"/>
        <a:defRPr sz="14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3pPr>
      <a:lvl4pPr marL="0" indent="0" algn="l" defTabSz="914377" rtl="0" eaLnBrk="0" fontAlgn="base" hangingPunct="0">
        <a:lnSpc>
          <a:spcPct val="90000"/>
        </a:lnSpc>
        <a:spcBef>
          <a:spcPts val="1200"/>
        </a:spcBef>
        <a:spcAft>
          <a:spcPts val="0"/>
        </a:spcAft>
        <a:buClr>
          <a:schemeClr val="tx1">
            <a:lumMod val="65000"/>
            <a:lumOff val="35000"/>
          </a:schemeClr>
        </a:buClr>
        <a:buSzPct val="80000"/>
        <a:buFont typeface="Segoe UI" panose="020B0502040204020203" pitchFamily="34" charset="0"/>
        <a:buChar char="​"/>
        <a:defRPr sz="2400" b="1" i="0" kern="1200">
          <a:solidFill>
            <a:schemeClr val="accent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4pPr>
      <a:lvl5pPr marL="0" indent="0" algn="l" defTabSz="914377" rtl="0" eaLnBrk="0" fontAlgn="base" hangingPunct="0">
        <a:lnSpc>
          <a:spcPct val="85000"/>
        </a:lnSpc>
        <a:spcBef>
          <a:spcPts val="1200"/>
        </a:spcBef>
        <a:spcAft>
          <a:spcPts val="0"/>
        </a:spcAft>
        <a:buSzPct val="80000"/>
        <a:buFont typeface="Segoe UI" panose="020B0502040204020203" pitchFamily="34" charset="0"/>
        <a:buChar char="​"/>
        <a:defRPr sz="20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5pPr>
      <a:lvl6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b="0" kern="1200" cap="none" spc="0" baseline="0" dirty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Calibri" panose="020F0502020204030204" pitchFamily="34" charset="0"/>
        </a:defRPr>
      </a:lvl6pPr>
      <a:lvl7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7pPr>
      <a:lvl8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8pPr>
      <a:lvl9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9pPr>
    </p:bodyStyle>
    <p:otherStyle>
      <a:defPPr>
        <a:defRPr lang="en-US"/>
      </a:defPPr>
      <a:lvl1pPr marL="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59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189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783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377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2971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566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16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75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A98120-3EF7-461E-AC34-C02BF5C3A7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3" name="think-cell Slide" r:id="rId27" imgW="347" imgH="348" progId="TCLayout.ActiveDocument.1">
                  <p:embed/>
                </p:oleObj>
              </mc:Choice>
              <mc:Fallback>
                <p:oleObj name="think-cell Slide" r:id="rId27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A98120-3EF7-461E-AC34-C02BF5C3A7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695ED66-1FB5-4142-98B1-DADBDD7E74A6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C7FC5EA-0D98-46D6-9AD5-D2066C50748C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10979898" y="6279823"/>
            <a:ext cx="722376" cy="241996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C20463F-B296-48A2-8B4F-20A01E6766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3776" y="1321711"/>
            <a:ext cx="11204448" cy="48550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Placeholder 16">
            <a:extLst>
              <a:ext uri="{FF2B5EF4-FFF2-40B4-BE49-F238E27FC236}">
                <a16:creationId xmlns:a16="http://schemas.microsoft.com/office/drawing/2014/main" id="{439D7FD4-A5EE-4C7C-950C-AF20BA5F1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7"/>
            <a:ext cx="11204448" cy="897970"/>
          </a:xfrm>
          <a:prstGeom prst="rect">
            <a:avLst/>
          </a:prstGeom>
        </p:spPr>
        <p:txBody>
          <a:bodyPr vert="horz" lIns="0" tIns="18288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A9EF9085-2652-4F8A-8E20-FE186217CC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ltGray">
          <a:xfrm>
            <a:off x="489727" y="6515709"/>
            <a:ext cx="1471154" cy="2068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661A87E-B7D3-440D-9E6F-68EF445B7FC2}"/>
              </a:ext>
            </a:extLst>
          </p:cNvPr>
          <p:cNvSpPr/>
          <p:nvPr/>
        </p:nvSpPr>
        <p:spPr>
          <a:xfrm>
            <a:off x="489726" y="6398435"/>
            <a:ext cx="10252929" cy="45719"/>
          </a:xfrm>
          <a:prstGeom prst="rect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76ED712-E8D1-4EA1-B8CF-F695AA915A25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5096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</p:sldLayoutIdLst>
  <p:txStyles>
    <p:titleStyle>
      <a:lvl1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umimoji="0" lang="en-US" sz="3600" b="0" i="0" u="none" strike="noStrike" kern="1200" cap="none" spc="0" normalizeH="0" baseline="0" smtClean="0">
          <a:ln>
            <a:noFill/>
          </a:ln>
          <a:solidFill>
            <a:schemeClr val="accent2"/>
          </a:solidFill>
          <a:effectLst/>
          <a:uLnTx/>
          <a:uFillTx/>
          <a:latin typeface="Calibri" panose="020F0502020204030204" pitchFamily="34" charset="0"/>
          <a:ea typeface="+mj-ea"/>
          <a:cs typeface="Calibri" panose="020F0502020204030204" pitchFamily="34" charset="0"/>
          <a:sym typeface="Proxima Nova Black" charset="0"/>
        </a:defRPr>
      </a:lvl1pPr>
      <a:lvl2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2pPr>
      <a:lvl3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3pPr>
      <a:lvl4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4pPr>
      <a:lvl5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5pPr>
      <a:lvl6pPr marL="228594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6pPr>
      <a:lvl7pPr marL="457189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7pPr>
      <a:lvl8pPr marL="685783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8pPr>
      <a:lvl9pPr marL="914377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9pPr>
    </p:titleStyle>
    <p:bodyStyle>
      <a:lvl1pPr marL="0" indent="0" algn="l" defTabSz="914377" rtl="0" eaLnBrk="1" fontAlgn="base" hangingPunct="1">
        <a:lnSpc>
          <a:spcPct val="90000"/>
        </a:lnSpc>
        <a:spcBef>
          <a:spcPts val="1200"/>
        </a:spcBef>
        <a:spcAft>
          <a:spcPts val="0"/>
        </a:spcAft>
        <a:buSzPct val="100000"/>
        <a:buFont typeface="Arial" panose="020B0604020202020204" pitchFamily="34" charset="0"/>
        <a:buChar char="​"/>
        <a:defRPr lang="en-US" sz="2000" b="0" kern="1200" dirty="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 Light" panose="020F0302020204030204" pitchFamily="34" charset="0"/>
          <a:sym typeface="Proxima Nova" charset="0"/>
        </a:defRPr>
      </a:lvl1pPr>
      <a:lvl2pPr marL="228594" indent="-228594" algn="l" defTabSz="914377" rtl="0" eaLnBrk="1" fontAlgn="base" hangingPunct="1">
        <a:lnSpc>
          <a:spcPct val="90000"/>
        </a:lnSpc>
        <a:spcBef>
          <a:spcPts val="667"/>
        </a:spcBef>
        <a:spcAft>
          <a:spcPts val="267"/>
        </a:spcAft>
        <a:buSzPct val="100000"/>
        <a:buFont typeface="Arial" panose="020B0604020202020204" pitchFamily="34" charset="0"/>
        <a:buChar char="•"/>
        <a:defRPr sz="16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2pPr>
      <a:lvl3pPr marL="455613" indent="-225425" algn="l" defTabSz="914377" rtl="0" eaLnBrk="1" fontAlgn="base" hangingPunct="1">
        <a:lnSpc>
          <a:spcPct val="85000"/>
        </a:lnSpc>
        <a:spcBef>
          <a:spcPts val="400"/>
        </a:spcBef>
        <a:spcAft>
          <a:spcPts val="267"/>
        </a:spcAft>
        <a:buClr>
          <a:schemeClr val="tx1">
            <a:lumMod val="65000"/>
            <a:lumOff val="35000"/>
          </a:schemeClr>
        </a:buClr>
        <a:buSzPct val="70000"/>
        <a:buFont typeface="Arial" panose="020B0604020202020204" pitchFamily="34" charset="0"/>
        <a:buChar char="̵"/>
        <a:defRPr sz="14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3pPr>
      <a:lvl4pPr marL="0" indent="0" algn="l" defTabSz="914377" rtl="0" eaLnBrk="1" fontAlgn="base" hangingPunct="1">
        <a:lnSpc>
          <a:spcPct val="90000"/>
        </a:lnSpc>
        <a:spcBef>
          <a:spcPts val="1200"/>
        </a:spcBef>
        <a:spcAft>
          <a:spcPts val="0"/>
        </a:spcAft>
        <a:buClr>
          <a:schemeClr val="tx1">
            <a:lumMod val="65000"/>
            <a:lumOff val="35000"/>
          </a:schemeClr>
        </a:buClr>
        <a:buSzPct val="80000"/>
        <a:buFont typeface="Segoe UI" panose="020B0502040204020203" pitchFamily="34" charset="0"/>
        <a:buChar char="​"/>
        <a:defRPr sz="2400" b="1" i="0" kern="1200">
          <a:solidFill>
            <a:schemeClr val="accent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4pPr>
      <a:lvl5pPr marL="0" indent="0" algn="l" defTabSz="914377" rtl="0" eaLnBrk="1" fontAlgn="base" hangingPunct="1">
        <a:lnSpc>
          <a:spcPct val="85000"/>
        </a:lnSpc>
        <a:spcBef>
          <a:spcPts val="1200"/>
        </a:spcBef>
        <a:spcAft>
          <a:spcPts val="0"/>
        </a:spcAft>
        <a:buSzPct val="80000"/>
        <a:buFont typeface="Segoe UI" panose="020B0502040204020203" pitchFamily="34" charset="0"/>
        <a:buChar char="​"/>
        <a:defRPr sz="20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5pPr>
      <a:lvl6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b="0" kern="1200" cap="none" spc="0" baseline="0" dirty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Calibri" panose="020F0502020204030204" pitchFamily="34" charset="0"/>
        </a:defRPr>
      </a:lvl6pPr>
      <a:lvl7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7pPr>
      <a:lvl8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8pPr>
      <a:lvl9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9pPr>
    </p:bodyStyle>
    <p:otherStyle>
      <a:defPPr>
        <a:defRPr lang="en-US"/>
      </a:defPPr>
      <a:lvl1pPr marL="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59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189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783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377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2971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566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16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75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" Target="slide8.xml"/><Relationship Id="rId1" Type="http://schemas.openxmlformats.org/officeDocument/2006/relationships/slideLayout" Target="../slideLayouts/slideLayout6.xml"/><Relationship Id="rId6" Type="http://schemas.openxmlformats.org/officeDocument/2006/relationships/slide" Target="slide1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2438" y="2466109"/>
            <a:ext cx="8315325" cy="969819"/>
          </a:xfrm>
        </p:spPr>
        <p:txBody>
          <a:bodyPr/>
          <a:lstStyle/>
          <a:p>
            <a:r>
              <a:rPr lang="en-US" dirty="0" smtClean="0"/>
              <a:t>CIAM Project Update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2438" y="4858326"/>
            <a:ext cx="5518225" cy="450791"/>
          </a:xfrm>
        </p:spPr>
        <p:txBody>
          <a:bodyPr/>
          <a:lstStyle/>
          <a:p>
            <a:r>
              <a:rPr lang="en-US" dirty="0" smtClean="0"/>
              <a:t>01</a:t>
            </a:r>
            <a:r>
              <a:rPr lang="en-US" baseline="30000" dirty="0" smtClean="0"/>
              <a:t>st</a:t>
            </a:r>
            <a:r>
              <a:rPr lang="en-US" dirty="0" smtClean="0"/>
              <a:t> October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1098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 Yo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2541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1F8418-FC00-588A-B8ED-32E40361E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riginal Project Plan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E00984D-D3AA-13FD-FC57-19FF607410F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080433-0019-7C2D-7F84-C5C9D36740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6298889"/>
              </p:ext>
            </p:extLst>
          </p:nvPr>
        </p:nvGraphicFramePr>
        <p:xfrm>
          <a:off x="493716" y="1197361"/>
          <a:ext cx="11204502" cy="4593838"/>
        </p:xfrm>
        <a:graphic>
          <a:graphicData uri="http://schemas.openxmlformats.org/drawingml/2006/table">
            <a:tbl>
              <a:tblPr/>
              <a:tblGrid>
                <a:gridCol w="481251">
                  <a:extLst>
                    <a:ext uri="{9D8B030D-6E8A-4147-A177-3AD203B41FA5}">
                      <a16:colId xmlns:a16="http://schemas.microsoft.com/office/drawing/2014/main" val="4108293276"/>
                    </a:ext>
                  </a:extLst>
                </a:gridCol>
                <a:gridCol w="2221160">
                  <a:extLst>
                    <a:ext uri="{9D8B030D-6E8A-4147-A177-3AD203B41FA5}">
                      <a16:colId xmlns:a16="http://schemas.microsoft.com/office/drawing/2014/main" val="4176684213"/>
                    </a:ext>
                  </a:extLst>
                </a:gridCol>
                <a:gridCol w="654007">
                  <a:extLst>
                    <a:ext uri="{9D8B030D-6E8A-4147-A177-3AD203B41FA5}">
                      <a16:colId xmlns:a16="http://schemas.microsoft.com/office/drawing/2014/main" val="1033185134"/>
                    </a:ext>
                  </a:extLst>
                </a:gridCol>
                <a:gridCol w="654007">
                  <a:extLst>
                    <a:ext uri="{9D8B030D-6E8A-4147-A177-3AD203B41FA5}">
                      <a16:colId xmlns:a16="http://schemas.microsoft.com/office/drawing/2014/main" val="3913583138"/>
                    </a:ext>
                  </a:extLst>
                </a:gridCol>
                <a:gridCol w="654007">
                  <a:extLst>
                    <a:ext uri="{9D8B030D-6E8A-4147-A177-3AD203B41FA5}">
                      <a16:colId xmlns:a16="http://schemas.microsoft.com/office/drawing/2014/main" val="3006227253"/>
                    </a:ext>
                  </a:extLst>
                </a:gridCol>
                <a:gridCol w="654007">
                  <a:extLst>
                    <a:ext uri="{9D8B030D-6E8A-4147-A177-3AD203B41FA5}">
                      <a16:colId xmlns:a16="http://schemas.microsoft.com/office/drawing/2014/main" val="4025531580"/>
                    </a:ext>
                  </a:extLst>
                </a:gridCol>
                <a:gridCol w="654007">
                  <a:extLst>
                    <a:ext uri="{9D8B030D-6E8A-4147-A177-3AD203B41FA5}">
                      <a16:colId xmlns:a16="http://schemas.microsoft.com/office/drawing/2014/main" val="1058536724"/>
                    </a:ext>
                  </a:extLst>
                </a:gridCol>
                <a:gridCol w="654007">
                  <a:extLst>
                    <a:ext uri="{9D8B030D-6E8A-4147-A177-3AD203B41FA5}">
                      <a16:colId xmlns:a16="http://schemas.microsoft.com/office/drawing/2014/main" val="3563137189"/>
                    </a:ext>
                  </a:extLst>
                </a:gridCol>
                <a:gridCol w="654007">
                  <a:extLst>
                    <a:ext uri="{9D8B030D-6E8A-4147-A177-3AD203B41FA5}">
                      <a16:colId xmlns:a16="http://schemas.microsoft.com/office/drawing/2014/main" val="3681440772"/>
                    </a:ext>
                  </a:extLst>
                </a:gridCol>
                <a:gridCol w="654007">
                  <a:extLst>
                    <a:ext uri="{9D8B030D-6E8A-4147-A177-3AD203B41FA5}">
                      <a16:colId xmlns:a16="http://schemas.microsoft.com/office/drawing/2014/main" val="3768447915"/>
                    </a:ext>
                  </a:extLst>
                </a:gridCol>
                <a:gridCol w="654007">
                  <a:extLst>
                    <a:ext uri="{9D8B030D-6E8A-4147-A177-3AD203B41FA5}">
                      <a16:colId xmlns:a16="http://schemas.microsoft.com/office/drawing/2014/main" val="3573427869"/>
                    </a:ext>
                  </a:extLst>
                </a:gridCol>
                <a:gridCol w="654007">
                  <a:extLst>
                    <a:ext uri="{9D8B030D-6E8A-4147-A177-3AD203B41FA5}">
                      <a16:colId xmlns:a16="http://schemas.microsoft.com/office/drawing/2014/main" val="781558562"/>
                    </a:ext>
                  </a:extLst>
                </a:gridCol>
                <a:gridCol w="654007">
                  <a:extLst>
                    <a:ext uri="{9D8B030D-6E8A-4147-A177-3AD203B41FA5}">
                      <a16:colId xmlns:a16="http://schemas.microsoft.com/office/drawing/2014/main" val="4241153102"/>
                    </a:ext>
                  </a:extLst>
                </a:gridCol>
                <a:gridCol w="654007">
                  <a:extLst>
                    <a:ext uri="{9D8B030D-6E8A-4147-A177-3AD203B41FA5}">
                      <a16:colId xmlns:a16="http://schemas.microsoft.com/office/drawing/2014/main" val="2248260595"/>
                    </a:ext>
                  </a:extLst>
                </a:gridCol>
                <a:gridCol w="654007">
                  <a:extLst>
                    <a:ext uri="{9D8B030D-6E8A-4147-A177-3AD203B41FA5}">
                      <a16:colId xmlns:a16="http://schemas.microsoft.com/office/drawing/2014/main" val="645137517"/>
                    </a:ext>
                  </a:extLst>
                </a:gridCol>
              </a:tblGrid>
              <a:tr h="256452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Activities</a:t>
                      </a:r>
                    </a:p>
                  </a:txBody>
                  <a:tcPr marL="7054" marR="7054" marT="705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12-Aug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19-Aug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26-Aug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2-Sep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9-Sep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16-Sep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23-Sep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30-Sep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7-Oct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14-Oct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21-Oct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28-Oct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4-Nov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7153568"/>
                  </a:ext>
                </a:extLst>
              </a:tr>
              <a:tr h="501755">
                <a:tc rowSpan="8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Engineering</a:t>
                      </a:r>
                    </a:p>
                  </a:txBody>
                  <a:tcPr marL="7054" marR="7054" marT="7054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Individual Accesses &amp; Azure AVD set up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0822895"/>
                  </a:ext>
                </a:extLst>
              </a:tr>
              <a:tr h="2564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Discovery &amp; Requirement Gathering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55603590"/>
                  </a:ext>
                </a:extLst>
              </a:tr>
              <a:tr h="50175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Accesses and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Environment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Setup (AWS)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7450501"/>
                  </a:ext>
                </a:extLst>
              </a:tr>
              <a:tr h="2564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Build Data Framework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1208016"/>
                  </a:ext>
                </a:extLst>
              </a:tr>
              <a:tr h="2564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Data Validation 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348124"/>
                  </a:ext>
                </a:extLst>
              </a:tr>
              <a:tr h="2564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Data Transformation Flow (ETL)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1134915"/>
                  </a:ext>
                </a:extLst>
              </a:tr>
              <a:tr h="2564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Scheduling and Automation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205602"/>
                  </a:ext>
                </a:extLst>
              </a:tr>
              <a:tr h="2564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Monitoring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6237700"/>
                  </a:ext>
                </a:extLst>
              </a:tr>
              <a:tr h="256452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Visualization</a:t>
                      </a:r>
                    </a:p>
                  </a:txBody>
                  <a:tcPr marL="7054" marR="7054" marT="7054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Business Goals &amp; Data Sample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2668559"/>
                  </a:ext>
                </a:extLst>
              </a:tr>
              <a:tr h="2564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Design Templates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8923450"/>
                  </a:ext>
                </a:extLst>
              </a:tr>
              <a:tr h="2564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Stakeholder Review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8024596"/>
                  </a:ext>
                </a:extLst>
              </a:tr>
              <a:tr h="2564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Development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6754438"/>
                  </a:ext>
                </a:extLst>
              </a:tr>
              <a:tr h="2564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Validation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7537192"/>
                  </a:ext>
                </a:extLst>
              </a:tr>
              <a:tr h="2564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Stakeholder Review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820346"/>
                  </a:ext>
                </a:extLst>
              </a:tr>
              <a:tr h="2564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Deployment &amp; Support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35397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15251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CD20BF-6937-C158-87D5-D8164B05D6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043" y="226849"/>
            <a:ext cx="11204448" cy="533240"/>
          </a:xfrm>
        </p:spPr>
        <p:txBody>
          <a:bodyPr/>
          <a:lstStyle/>
          <a:p>
            <a:r>
              <a:rPr lang="en-US" dirty="0"/>
              <a:t>CIAM - Functions, Initiatives and </a:t>
            </a:r>
            <a:r>
              <a:rPr lang="en-US" dirty="0" smtClean="0"/>
              <a:t>Metrics Mapping (Original)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214C498-091A-4E65-B4EA-2097B0A0A21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47ECDD9-19E3-3387-942B-D6B5A0ABCE9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1" name="Picture 10" descr="A screenshot of a computer&#10;&#10;Description automatically generated">
            <a:extLst>
              <a:ext uri="{FF2B5EF4-FFF2-40B4-BE49-F238E27FC236}">
                <a16:creationId xmlns:a16="http://schemas.microsoft.com/office/drawing/2014/main" id="{E34ABF21-CF21-7747-FE27-5A295126B2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1939" y="928810"/>
            <a:ext cx="10022389" cy="5077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7899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1126836" y="2151823"/>
            <a:ext cx="8174184" cy="2918306"/>
            <a:chOff x="5843758" y="1813662"/>
            <a:chExt cx="5117212" cy="2866377"/>
          </a:xfrm>
        </p:grpSpPr>
        <p:sp>
          <p:nvSpPr>
            <p:cNvPr id="15" name="Rounded Rectangle 14">
              <a:extLst>
                <a:ext uri="{FF2B5EF4-FFF2-40B4-BE49-F238E27FC236}">
                  <a16:creationId xmlns:a16="http://schemas.microsoft.com/office/drawing/2014/main" id="{9D9B8547-4225-6D46-89FC-F54AEF8A5471}"/>
                </a:ext>
              </a:extLst>
            </p:cNvPr>
            <p:cNvSpPr/>
            <p:nvPr/>
          </p:nvSpPr>
          <p:spPr bwMode="auto">
            <a:xfrm>
              <a:off x="5850204" y="1813662"/>
              <a:ext cx="4594472" cy="514481"/>
            </a:xfrm>
            <a:prstGeom prst="roundRect">
              <a:avLst>
                <a:gd name="adj" fmla="val 0"/>
              </a:avLst>
            </a:prstGeom>
            <a:gradFill>
              <a:gsLst>
                <a:gs pos="0">
                  <a:schemeClr val="bg1">
                    <a:lumMod val="95000"/>
                    <a:alpha val="63000"/>
                  </a:schemeClr>
                </a:gs>
                <a:gs pos="99000">
                  <a:schemeClr val="bg1"/>
                </a:gs>
              </a:gsLst>
              <a:lin ang="16200000" scaled="0"/>
            </a:gradFill>
            <a:ln w="3175">
              <a:noFill/>
              <a:prstDash val="dash"/>
            </a:ln>
          </p:spPr>
          <p:txBody>
            <a:bodyPr vert="horz" wrap="square" lIns="42863" tIns="21431" rIns="42863" bIns="21431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IN" dirty="0">
                <a:solidFill>
                  <a:schemeClr val="accent1"/>
                </a:solidFill>
              </a:endParaRPr>
            </a:p>
          </p:txBody>
        </p:sp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767C00CC-A128-F549-9BF1-B64C43C9B963}"/>
                </a:ext>
              </a:extLst>
            </p:cNvPr>
            <p:cNvSpPr/>
            <p:nvPr/>
          </p:nvSpPr>
          <p:spPr bwMode="auto">
            <a:xfrm>
              <a:off x="5850204" y="2366555"/>
              <a:ext cx="4594472" cy="514481"/>
            </a:xfrm>
            <a:prstGeom prst="roundRect">
              <a:avLst>
                <a:gd name="adj" fmla="val 0"/>
              </a:avLst>
            </a:prstGeom>
            <a:gradFill>
              <a:gsLst>
                <a:gs pos="0">
                  <a:schemeClr val="bg1">
                    <a:lumMod val="95000"/>
                    <a:alpha val="63000"/>
                  </a:schemeClr>
                </a:gs>
                <a:gs pos="99000">
                  <a:schemeClr val="bg1"/>
                </a:gs>
              </a:gsLst>
              <a:lin ang="16200000" scaled="0"/>
            </a:gradFill>
            <a:ln w="3175">
              <a:noFill/>
              <a:prstDash val="dash"/>
            </a:ln>
          </p:spPr>
          <p:txBody>
            <a:bodyPr vert="horz" wrap="square" lIns="42863" tIns="21431" rIns="42863" bIns="21431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IN" dirty="0">
                <a:solidFill>
                  <a:schemeClr val="accent1"/>
                </a:solidFill>
              </a:endParaRPr>
            </a:p>
          </p:txBody>
        </p:sp>
        <p:sp>
          <p:nvSpPr>
            <p:cNvPr id="17" name="Rounded Rectangle 16">
              <a:extLst>
                <a:ext uri="{FF2B5EF4-FFF2-40B4-BE49-F238E27FC236}">
                  <a16:creationId xmlns:a16="http://schemas.microsoft.com/office/drawing/2014/main" id="{F3325DB8-24A7-0347-8D76-D043FAC0A2FE}"/>
                </a:ext>
              </a:extLst>
            </p:cNvPr>
            <p:cNvSpPr/>
            <p:nvPr/>
          </p:nvSpPr>
          <p:spPr bwMode="auto">
            <a:xfrm>
              <a:off x="5850204" y="2945574"/>
              <a:ext cx="4594472" cy="514481"/>
            </a:xfrm>
            <a:prstGeom prst="roundRect">
              <a:avLst>
                <a:gd name="adj" fmla="val 0"/>
              </a:avLst>
            </a:prstGeom>
            <a:gradFill>
              <a:gsLst>
                <a:gs pos="0">
                  <a:schemeClr val="bg1">
                    <a:lumMod val="95000"/>
                    <a:alpha val="63000"/>
                  </a:schemeClr>
                </a:gs>
                <a:gs pos="99000">
                  <a:schemeClr val="bg1"/>
                </a:gs>
              </a:gsLst>
              <a:lin ang="16200000" scaled="0"/>
            </a:gradFill>
            <a:ln w="3175">
              <a:noFill/>
              <a:prstDash val="dash"/>
            </a:ln>
          </p:spPr>
          <p:txBody>
            <a:bodyPr vert="horz" wrap="square" lIns="42863" tIns="21431" rIns="42863" bIns="21431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IN" dirty="0">
                <a:solidFill>
                  <a:schemeClr val="accent1"/>
                </a:solidFill>
              </a:endParaRPr>
            </a:p>
          </p:txBody>
        </p:sp>
        <p:sp>
          <p:nvSpPr>
            <p:cNvPr id="18" name="Rounded Rectangle 17">
              <a:extLst>
                <a:ext uri="{FF2B5EF4-FFF2-40B4-BE49-F238E27FC236}">
                  <a16:creationId xmlns:a16="http://schemas.microsoft.com/office/drawing/2014/main" id="{B51589C0-5533-2D40-A8AA-D20B595C455B}"/>
                </a:ext>
              </a:extLst>
            </p:cNvPr>
            <p:cNvSpPr/>
            <p:nvPr/>
          </p:nvSpPr>
          <p:spPr bwMode="auto">
            <a:xfrm>
              <a:off x="5850204" y="3472341"/>
              <a:ext cx="4594472" cy="514481"/>
            </a:xfrm>
            <a:prstGeom prst="roundRect">
              <a:avLst>
                <a:gd name="adj" fmla="val 0"/>
              </a:avLst>
            </a:prstGeom>
            <a:gradFill>
              <a:gsLst>
                <a:gs pos="0">
                  <a:schemeClr val="bg1">
                    <a:lumMod val="95000"/>
                    <a:alpha val="63000"/>
                  </a:schemeClr>
                </a:gs>
                <a:gs pos="99000">
                  <a:schemeClr val="bg1"/>
                </a:gs>
              </a:gsLst>
              <a:lin ang="16200000" scaled="0"/>
            </a:gradFill>
            <a:ln w="3175">
              <a:noFill/>
              <a:prstDash val="dash"/>
            </a:ln>
          </p:spPr>
          <p:txBody>
            <a:bodyPr vert="horz" wrap="square" lIns="42863" tIns="21431" rIns="42863" bIns="21431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IN" dirty="0">
                <a:solidFill>
                  <a:schemeClr val="accent1"/>
                </a:solidFill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5843758" y="1964775"/>
              <a:ext cx="358306" cy="359252"/>
            </a:xfrm>
            <a:prstGeom prst="rect">
              <a:avLst/>
            </a:prstGeom>
            <a:gradFill>
              <a:gsLst>
                <a:gs pos="0">
                  <a:schemeClr val="bg2">
                    <a:lumMod val="75000"/>
                  </a:schemeClr>
                </a:gs>
                <a:gs pos="71000">
                  <a:srgbClr val="0D1A7C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5843758" y="2533101"/>
              <a:ext cx="358306" cy="359252"/>
            </a:xfrm>
            <a:prstGeom prst="rect">
              <a:avLst/>
            </a:prstGeom>
            <a:gradFill>
              <a:gsLst>
                <a:gs pos="0">
                  <a:schemeClr val="bg2">
                    <a:lumMod val="75000"/>
                  </a:schemeClr>
                </a:gs>
                <a:gs pos="71000">
                  <a:srgbClr val="0D1A7C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5843758" y="3106241"/>
              <a:ext cx="358306" cy="359252"/>
            </a:xfrm>
            <a:prstGeom prst="rect">
              <a:avLst/>
            </a:prstGeom>
            <a:gradFill>
              <a:gsLst>
                <a:gs pos="0">
                  <a:schemeClr val="bg2">
                    <a:lumMod val="75000"/>
                  </a:schemeClr>
                </a:gs>
                <a:gs pos="71000">
                  <a:srgbClr val="0D1A7C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5843758" y="3637023"/>
              <a:ext cx="358306" cy="359252"/>
            </a:xfrm>
            <a:prstGeom prst="rect">
              <a:avLst/>
            </a:prstGeom>
            <a:gradFill>
              <a:gsLst>
                <a:gs pos="0">
                  <a:schemeClr val="bg2">
                    <a:lumMod val="75000"/>
                  </a:schemeClr>
                </a:gs>
                <a:gs pos="71000">
                  <a:srgbClr val="0D1A7C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58E2F45C-858B-3547-BEFE-B74B36172CD8}"/>
                </a:ext>
              </a:extLst>
            </p:cNvPr>
            <p:cNvSpPr/>
            <p:nvPr/>
          </p:nvSpPr>
          <p:spPr>
            <a:xfrm>
              <a:off x="6300627" y="1820155"/>
              <a:ext cx="4660343" cy="285988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R="0" lvl="0">
                <a:lnSpc>
                  <a:spcPct val="229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6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Project Status &amp; </a:t>
              </a:r>
              <a:r>
                <a:rPr lang="en-US" sz="16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Milestones</a:t>
              </a:r>
            </a:p>
            <a:p>
              <a:pPr marR="0" lvl="0">
                <a:lnSpc>
                  <a:spcPct val="229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6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Current/Latest </a:t>
              </a:r>
              <a:r>
                <a:rPr lang="en-US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Progress Summary (Last 2 Weeks</a:t>
              </a:r>
              <a:r>
                <a:rPr lang="en-US" sz="16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)</a:t>
              </a:r>
            </a:p>
            <a:p>
              <a:pPr marR="0" lvl="0">
                <a:lnSpc>
                  <a:spcPct val="229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6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Summary </a:t>
              </a:r>
              <a:r>
                <a:rPr lang="en-US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of the CIAM Data Points for </a:t>
              </a:r>
              <a:r>
                <a:rPr lang="en-US" sz="16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BI Reporting</a:t>
              </a:r>
            </a:p>
            <a:p>
              <a:pPr marR="0" lvl="0">
                <a:lnSpc>
                  <a:spcPct val="229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Ongoing Data/Business Logic </a:t>
              </a:r>
              <a:r>
                <a:rPr lang="en-US" sz="16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Validation – Summary &amp; Risks</a:t>
              </a:r>
            </a:p>
            <a:p>
              <a:pPr marR="0" lvl="0">
                <a:lnSpc>
                  <a:spcPct val="229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6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Dashboard </a:t>
              </a:r>
              <a:r>
                <a:rPr lang="en-US" sz="16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Wireframe Profile &amp; Activity View</a:t>
              </a:r>
              <a:endPara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6" name="Title 1">
            <a:extLst>
              <a:ext uri="{FF2B5EF4-FFF2-40B4-BE49-F238E27FC236}">
                <a16:creationId xmlns:a16="http://schemas.microsoft.com/office/drawing/2014/main" id="{3323B3D9-5974-6DF1-41E8-FE8BB3E28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540" y="296987"/>
            <a:ext cx="11204448" cy="463610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sz="3600" dirty="0" smtClean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genda</a:t>
            </a:r>
            <a:endParaRPr lang="en-US" sz="3600" dirty="0">
              <a:solidFill>
                <a:schemeClr val="accent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137133" y="4548615"/>
            <a:ext cx="572354" cy="365760"/>
          </a:xfrm>
          <a:prstGeom prst="rect">
            <a:avLst/>
          </a:prstGeom>
          <a:gradFill>
            <a:gsLst>
              <a:gs pos="0">
                <a:schemeClr val="bg2">
                  <a:lumMod val="75000"/>
                </a:schemeClr>
              </a:gs>
              <a:gs pos="71000">
                <a:srgbClr val="0D1A7C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600" b="1" noProof="0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5</a:t>
            </a:r>
            <a:endParaRPr kumimoji="0" lang="en-IN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1652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3B3D9-5974-6DF1-41E8-FE8BB3E28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8"/>
            <a:ext cx="11204448" cy="463610"/>
          </a:xfrm>
        </p:spPr>
        <p:txBody>
          <a:bodyPr/>
          <a:lstStyle/>
          <a:p>
            <a:r>
              <a:rPr lang="en-US" dirty="0"/>
              <a:t>Project Status &amp; </a:t>
            </a:r>
            <a:r>
              <a:rPr lang="en-US" dirty="0" smtClean="0"/>
              <a:t>Milestones – Data </a:t>
            </a:r>
            <a:r>
              <a:rPr lang="en-US" dirty="0" smtClean="0"/>
              <a:t>Engineering Track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F66A7C-FACA-CDF4-CE52-E253CDBB6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828501-58BA-692E-22E4-583AADE806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46" name="Table 4">
            <a:extLst>
              <a:ext uri="{FF2B5EF4-FFF2-40B4-BE49-F238E27FC236}">
                <a16:creationId xmlns:a16="http://schemas.microsoft.com/office/drawing/2014/main" id="{53EA420E-C862-42CC-AD0A-0CD5E908B4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9026784"/>
              </p:ext>
            </p:extLst>
          </p:nvPr>
        </p:nvGraphicFramePr>
        <p:xfrm>
          <a:off x="746988" y="886693"/>
          <a:ext cx="10951236" cy="5258413"/>
        </p:xfrm>
        <a:graphic>
          <a:graphicData uri="http://schemas.openxmlformats.org/drawingml/2006/table">
            <a:tbl>
              <a:tblPr firstRow="1" bandRow="1"/>
              <a:tblGrid>
                <a:gridCol w="330653">
                  <a:extLst>
                    <a:ext uri="{9D8B030D-6E8A-4147-A177-3AD203B41FA5}">
                      <a16:colId xmlns:a16="http://schemas.microsoft.com/office/drawing/2014/main" val="591996495"/>
                    </a:ext>
                  </a:extLst>
                </a:gridCol>
                <a:gridCol w="4353341">
                  <a:extLst>
                    <a:ext uri="{9D8B030D-6E8A-4147-A177-3AD203B41FA5}">
                      <a16:colId xmlns:a16="http://schemas.microsoft.com/office/drawing/2014/main" val="1871347559"/>
                    </a:ext>
                  </a:extLst>
                </a:gridCol>
                <a:gridCol w="1274618">
                  <a:extLst>
                    <a:ext uri="{9D8B030D-6E8A-4147-A177-3AD203B41FA5}">
                      <a16:colId xmlns:a16="http://schemas.microsoft.com/office/drawing/2014/main" val="1440275523"/>
                    </a:ext>
                  </a:extLst>
                </a:gridCol>
                <a:gridCol w="1265382">
                  <a:extLst>
                    <a:ext uri="{9D8B030D-6E8A-4147-A177-3AD203B41FA5}">
                      <a16:colId xmlns:a16="http://schemas.microsoft.com/office/drawing/2014/main" val="643326090"/>
                    </a:ext>
                  </a:extLst>
                </a:gridCol>
                <a:gridCol w="1394691">
                  <a:extLst>
                    <a:ext uri="{9D8B030D-6E8A-4147-A177-3AD203B41FA5}">
                      <a16:colId xmlns:a16="http://schemas.microsoft.com/office/drawing/2014/main" val="927228342"/>
                    </a:ext>
                  </a:extLst>
                </a:gridCol>
                <a:gridCol w="2332551">
                  <a:extLst>
                    <a:ext uri="{9D8B030D-6E8A-4147-A177-3AD203B41FA5}">
                      <a16:colId xmlns:a16="http://schemas.microsoft.com/office/drawing/2014/main" val="4023779838"/>
                    </a:ext>
                  </a:extLst>
                </a:gridCol>
              </a:tblGrid>
              <a:tr h="403124">
                <a:tc gridSpan="2">
                  <a:txBody>
                    <a:bodyPr/>
                    <a:lstStyle>
                      <a:lvl1pPr marL="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457189" rtl="0" eaLnBrk="1" latinLnBrk="0" hangingPunct="1">
                        <a:lnSpc>
                          <a:spcPct val="150000"/>
                        </a:lnSpc>
                      </a:pPr>
                      <a:r>
                        <a:rPr lang="en-US" sz="1400" b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Data Engineering</a:t>
                      </a:r>
                      <a:endParaRPr lang="en-US" sz="14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457189" rtl="0" eaLnBrk="1" latinLnBrk="0" hangingPunct="1"/>
                      <a:r>
                        <a:rPr lang="en-US" sz="1400" b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Progress</a:t>
                      </a:r>
                      <a:endParaRPr lang="en-US" sz="14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457189" rtl="0" eaLnBrk="1" latinLnBrk="0" hangingPunct="1"/>
                      <a:r>
                        <a:rPr lang="en-US" sz="1400" b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Risk</a:t>
                      </a:r>
                      <a:r>
                        <a:rPr lang="en-US" sz="1400" b="1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 Level</a:t>
                      </a:r>
                      <a:endParaRPr lang="en-US" sz="14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457189" rtl="0" eaLnBrk="1" latinLnBrk="0" hangingPunct="1"/>
                      <a:r>
                        <a:rPr lang="en-US" sz="1400" b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Complete</a:t>
                      </a:r>
                      <a:r>
                        <a:rPr lang="en-US" sz="1400" b="1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 Week</a:t>
                      </a:r>
                      <a:endParaRPr lang="en-US" sz="14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457189" rtl="0" eaLnBrk="1" latinLnBrk="0" hangingPunct="1"/>
                      <a:r>
                        <a:rPr lang="en-US" sz="1400" b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Dependencies &amp; Challenges</a:t>
                      </a:r>
                      <a:endParaRPr lang="en-US" sz="14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054875"/>
                  </a:ext>
                </a:extLst>
              </a:tr>
              <a:tr h="372841">
                <a:tc gridSpan="2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200" b="1" noProof="1" smtClean="0">
                          <a:solidFill>
                            <a:schemeClr val="tx1"/>
                          </a:solidFill>
                        </a:rPr>
                        <a:t>Activity 1 – Create Fact Tables in Athena [Test/Sample]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noProof="1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1926703"/>
                  </a:ext>
                </a:extLst>
              </a:tr>
              <a:tr h="372841"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bg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|__ Account Fact Table &amp; Profile Fact Table</a:t>
                      </a: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baseline="0" noProof="1" smtClean="0">
                          <a:solidFill>
                            <a:schemeClr val="tx1"/>
                          </a:solidFill>
                        </a:rPr>
                        <a:t>WE 9th</a:t>
                      </a:r>
                      <a:r>
                        <a:rPr lang="en-US" sz="1200" noProof="1" smtClean="0">
                          <a:solidFill>
                            <a:schemeClr val="tx1"/>
                          </a:solidFill>
                        </a:rPr>
                        <a:t> September</a:t>
                      </a:r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noProof="1" smtClean="0">
                          <a:solidFill>
                            <a:schemeClr val="tx1"/>
                          </a:solidFill>
                        </a:rPr>
                        <a:t>Correct Filtering of Data &amp; </a:t>
                      </a:r>
                    </a:p>
                    <a:p>
                      <a:pPr algn="ctr"/>
                      <a:r>
                        <a:rPr lang="en-US" sz="1200" noProof="1" smtClean="0">
                          <a:solidFill>
                            <a:schemeClr val="tx1"/>
                          </a:solidFill>
                        </a:rPr>
                        <a:t>Field Level</a:t>
                      </a:r>
                      <a:r>
                        <a:rPr lang="en-US" sz="1200" baseline="0" noProof="1" smtClean="0">
                          <a:solidFill>
                            <a:schemeClr val="tx1"/>
                          </a:solidFill>
                        </a:rPr>
                        <a:t> Data </a:t>
                      </a:r>
                      <a:r>
                        <a:rPr lang="en-US" sz="1200" noProof="1" smtClean="0">
                          <a:solidFill>
                            <a:schemeClr val="tx1"/>
                          </a:solidFill>
                        </a:rPr>
                        <a:t>Validation</a:t>
                      </a:r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606401"/>
                  </a:ext>
                </a:extLst>
              </a:tr>
              <a:tr h="372841"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bg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|__Transaction Fact Octa Table &amp; Transaction Fact Adobe Table</a:t>
                      </a: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baseline="0" noProof="1" smtClean="0">
                          <a:solidFill>
                            <a:schemeClr val="tx1"/>
                          </a:solidFill>
                        </a:rPr>
                        <a:t>WE 16</a:t>
                      </a:r>
                      <a:r>
                        <a:rPr lang="en-US" sz="1200" baseline="30000" noProof="1" smtClean="0">
                          <a:solidFill>
                            <a:schemeClr val="tx1"/>
                          </a:solidFill>
                        </a:rPr>
                        <a:t>th</a:t>
                      </a:r>
                      <a:r>
                        <a:rPr lang="en-US" sz="1200" baseline="0" noProof="1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noProof="1" smtClean="0">
                          <a:solidFill>
                            <a:schemeClr val="tx1"/>
                          </a:solidFill>
                        </a:rPr>
                        <a:t>September</a:t>
                      </a:r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2082998"/>
                  </a:ext>
                </a:extLst>
              </a:tr>
              <a:tr h="372841">
                <a:tc gridSpan="2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noProof="1" smtClean="0">
                          <a:solidFill>
                            <a:schemeClr val="tx1"/>
                          </a:solidFill>
                        </a:rPr>
                        <a:t>Activity 2 – </a:t>
                      </a:r>
                      <a:r>
                        <a:rPr lang="en-US" sz="1200" b="1" kern="1200" noProof="1" smtClean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Upload Fact</a:t>
                      </a:r>
                      <a:r>
                        <a:rPr lang="en-US" sz="1200" b="1" kern="1200" baseline="0" noProof="1" smtClean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 Tables</a:t>
                      </a:r>
                      <a:r>
                        <a:rPr lang="en-US" sz="1200" b="1" kern="1200" noProof="1" smtClean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 in S3 - CIAM_DATAMODEL [Test files]</a:t>
                      </a:r>
                      <a:endParaRPr lang="da-DK" sz="1200" b="1" kern="1200" noProof="1">
                        <a:solidFill>
                          <a:schemeClr val="tx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4485023"/>
                  </a:ext>
                </a:extLst>
              </a:tr>
              <a:tr h="372841"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|__ Upload Fact Tables to S3 Bucket Storage</a:t>
                      </a: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noProof="1" smtClean="0">
                          <a:solidFill>
                            <a:schemeClr val="tx1"/>
                          </a:solidFill>
                        </a:rPr>
                        <a:t>WE 23</a:t>
                      </a:r>
                      <a:r>
                        <a:rPr lang="en-US" sz="1200" baseline="30000" noProof="1" smtClean="0">
                          <a:solidFill>
                            <a:schemeClr val="tx1"/>
                          </a:solidFill>
                        </a:rPr>
                        <a:t>rd</a:t>
                      </a:r>
                      <a:r>
                        <a:rPr lang="en-US" sz="1200" noProof="1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baseline="0" noProof="1" smtClean="0">
                          <a:solidFill>
                            <a:schemeClr val="tx1"/>
                          </a:solidFill>
                        </a:rPr>
                        <a:t>September</a:t>
                      </a:r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noProof="1" smtClean="0">
                          <a:solidFill>
                            <a:schemeClr val="tx1"/>
                          </a:solidFill>
                        </a:rPr>
                        <a:t>Data Transformation &amp; Validation using AWS Quicksights</a:t>
                      </a:r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3436198"/>
                  </a:ext>
                </a:extLst>
              </a:tr>
              <a:tr h="372841"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1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|__ Validation and Transformation of </a:t>
                      </a:r>
                      <a:r>
                        <a:rPr kumimoji="0" lang="en-US" sz="1200" b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Activity Fact Tables</a:t>
                      </a:r>
                      <a:endParaRPr kumimoji="0" lang="en-US" sz="12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1" smtClean="0">
                          <a:solidFill>
                            <a:schemeClr val="tx1"/>
                          </a:solidFill>
                        </a:rPr>
                        <a:t>Ongoing</a:t>
                      </a:r>
                      <a:endParaRPr lang="en-US" sz="1200" baseline="0" noProof="1" smtClean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algn="ctr" defTabSz="457189" rtl="0" eaLnBrk="1" latinLnBrk="0" hangingPunct="1"/>
                      <a:endParaRPr lang="en-US" sz="1200" kern="1200" noProof="1" smtClean="0">
                        <a:solidFill>
                          <a:schemeClr val="tx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4437463"/>
                  </a:ext>
                </a:extLst>
              </a:tr>
              <a:tr h="372841">
                <a:tc gridSpan="2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noProof="1" smtClean="0">
                          <a:solidFill>
                            <a:schemeClr val="tx1"/>
                          </a:solidFill>
                        </a:rPr>
                        <a:t>Create Partition &amp; Load - External Table in AWS</a:t>
                      </a:r>
                      <a:r>
                        <a:rPr lang="en-US" sz="1200" b="1" baseline="0" noProof="1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b="1" noProof="1" smtClean="0">
                          <a:solidFill>
                            <a:schemeClr val="tx1"/>
                          </a:solidFill>
                        </a:rPr>
                        <a:t>Athe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noProof="1"/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1103034"/>
                  </a:ext>
                </a:extLst>
              </a:tr>
              <a:tr h="372841"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|__ Loading Incremental Data into the External Tables</a:t>
                      </a: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2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WE 25</a:t>
                      </a:r>
                      <a:r>
                        <a:rPr kumimoji="0" lang="en-US" sz="1200" b="0" i="0" u="none" strike="noStrike" kern="1200" cap="none" spc="0" normalizeH="0" baseline="3000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th</a:t>
                      </a:r>
                      <a:r>
                        <a:rPr kumimoji="0" lang="en-US" sz="12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 October</a:t>
                      </a:r>
                      <a:endParaRPr lang="en-US" sz="1200" noProof="1"/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en-US" sz="1200" kern="1200" noProof="1" smtClean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Access may take upto</a:t>
                      </a:r>
                      <a:r>
                        <a:rPr lang="en-US" sz="1200" kern="1200" baseline="0" noProof="1" smtClean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noProof="1" smtClean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2-3 weeks may delay these activities</a:t>
                      </a:r>
                      <a:endParaRPr lang="en-US" sz="1200" kern="1200" noProof="1">
                        <a:solidFill>
                          <a:schemeClr val="tx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8339243"/>
                  </a:ext>
                </a:extLst>
              </a:tr>
              <a:tr h="3728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|__ Complete data update in all Fact Tables</a:t>
                      </a: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E 25</a:t>
                      </a:r>
                      <a:r>
                        <a:rPr kumimoji="0" lang="en-US" sz="1200" b="0" i="0" u="none" strike="noStrike" kern="1200" cap="none" spc="0" normalizeH="0" baseline="3000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</a:t>
                      </a:r>
                      <a:r>
                        <a:rPr kumimoji="0" lang="en-US" sz="12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October</a:t>
                      </a:r>
                      <a:endParaRPr lang="en-US" sz="1200" noProof="1" smtClean="0"/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7396125"/>
                  </a:ext>
                </a:extLst>
              </a:tr>
              <a:tr h="372841">
                <a:tc gridSpan="2"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noProof="1" smtClean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Create Data ETL Pipeline in</a:t>
                      </a:r>
                      <a:r>
                        <a:rPr lang="en-US" sz="1200" b="1" kern="1200" baseline="0" noProof="1" smtClean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 AWS Glue</a:t>
                      </a:r>
                      <a:endParaRPr lang="en-US" sz="1200" b="1" kern="1200" noProof="1">
                        <a:solidFill>
                          <a:schemeClr val="tx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a-DK" sz="1800" b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uLnTx/>
                        <a:uFillTx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noProof="1"/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3575882"/>
                  </a:ext>
                </a:extLst>
              </a:tr>
              <a:tr h="3728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|__ </a:t>
                      </a:r>
                      <a:r>
                        <a:rPr kumimoji="0" lang="en-US" sz="1200" b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reate IAM Role for AWS Glue</a:t>
                      </a:r>
                      <a:endParaRPr kumimoji="0" lang="da-DK" sz="1200" b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WE 29</a:t>
                      </a:r>
                      <a:r>
                        <a:rPr kumimoji="0" lang="en-US" sz="1200" b="0" i="0" u="none" strike="noStrike" kern="1200" cap="none" spc="0" normalizeH="0" baseline="3000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st</a:t>
                      </a:r>
                      <a:r>
                        <a:rPr kumimoji="0" lang="en-US" sz="12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 November</a:t>
                      </a: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en-US" sz="1200" kern="1200" noProof="1" smtClean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Dependency on Previous Tasks,</a:t>
                      </a:r>
                      <a:r>
                        <a:rPr lang="en-US" sz="1200" kern="1200" baseline="0" noProof="1" smtClean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noProof="1" smtClean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AWS Glue Access may delay the </a:t>
                      </a:r>
                      <a:r>
                        <a:rPr lang="en-US" sz="1200" kern="1200" noProof="1" smtClean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Timelines</a:t>
                      </a:r>
                      <a:endParaRPr lang="en-US" sz="1200" kern="1200" noProof="1">
                        <a:solidFill>
                          <a:schemeClr val="tx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8521403"/>
                  </a:ext>
                </a:extLst>
              </a:tr>
              <a:tr h="3728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|__</a:t>
                      </a:r>
                      <a:r>
                        <a:rPr kumimoji="0" lang="en-US" sz="1800" b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 </a:t>
                      </a:r>
                      <a:r>
                        <a:rPr kumimoji="0" lang="da-DK" sz="1200" b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AWS Glue Crawler for Data Schema &amp; Metadata Tables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E 29</a:t>
                      </a:r>
                      <a:r>
                        <a:rPr kumimoji="0" lang="en-US" sz="1200" b="0" i="0" u="none" strike="noStrike" kern="1200" cap="none" spc="0" normalizeH="0" baseline="3000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</a:t>
                      </a:r>
                      <a:r>
                        <a:rPr kumimoji="0" lang="en-US" sz="12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November</a:t>
                      </a: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6149753"/>
                  </a:ext>
                </a:extLst>
              </a:tr>
              <a:tr h="372841">
                <a:tc gridSpan="2"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noProof="1" smtClean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Data &amp;</a:t>
                      </a:r>
                      <a:r>
                        <a:rPr lang="en-US" sz="1200" b="1" kern="1200" baseline="0" noProof="1" smtClean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 Pipeline Testing &amp; Production Deployment</a:t>
                      </a:r>
                      <a:endParaRPr lang="en-US" sz="1200" b="1" kern="1200" noProof="1">
                        <a:solidFill>
                          <a:schemeClr val="tx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a-DK" sz="1800" b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uLnTx/>
                        <a:uFillTx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E 6</a:t>
                      </a:r>
                      <a:r>
                        <a:rPr kumimoji="0" lang="en-US" sz="1200" b="0" i="0" u="none" strike="noStrike" kern="1200" cap="none" spc="0" normalizeH="0" baseline="3000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</a:t>
                      </a:r>
                      <a:r>
                        <a:rPr kumimoji="0" lang="en-US" sz="12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ecember</a:t>
                      </a: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en-US" sz="1200" kern="1200" noProof="1" smtClean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TBD</a:t>
                      </a:r>
                      <a:endParaRPr lang="en-US" sz="1200" kern="1200" noProof="1">
                        <a:solidFill>
                          <a:schemeClr val="tx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9402842"/>
                  </a:ext>
                </a:extLst>
              </a:tr>
            </a:tbl>
          </a:graphicData>
        </a:graphic>
      </p:graphicFrame>
      <p:sp>
        <p:nvSpPr>
          <p:cNvPr id="51" name="Rectangle: Rounded Corners 13">
            <a:extLst>
              <a:ext uri="{FF2B5EF4-FFF2-40B4-BE49-F238E27FC236}">
                <a16:creationId xmlns:a16="http://schemas.microsoft.com/office/drawing/2014/main" id="{E415017B-CFE6-4C23-8D29-5128C86E4DB7}"/>
              </a:ext>
            </a:extLst>
          </p:cNvPr>
          <p:cNvSpPr/>
          <p:nvPr/>
        </p:nvSpPr>
        <p:spPr>
          <a:xfrm>
            <a:off x="5461131" y="1724582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 dirty="0">
                <a:solidFill>
                  <a:prstClr val="black">
                    <a:lumMod val="85000"/>
                    <a:lumOff val="15000"/>
                  </a:prstClr>
                </a:solidFill>
              </a:rPr>
              <a:t>Complete</a:t>
            </a:r>
          </a:p>
        </p:txBody>
      </p:sp>
      <p:sp>
        <p:nvSpPr>
          <p:cNvPr id="52" name="Rectangle: Rounded Corners 14">
            <a:extLst>
              <a:ext uri="{FF2B5EF4-FFF2-40B4-BE49-F238E27FC236}">
                <a16:creationId xmlns:a16="http://schemas.microsoft.com/office/drawing/2014/main" id="{C9A2C356-86EB-4E0D-AC31-2CF89823DAD6}"/>
              </a:ext>
            </a:extLst>
          </p:cNvPr>
          <p:cNvSpPr/>
          <p:nvPr/>
        </p:nvSpPr>
        <p:spPr>
          <a:xfrm>
            <a:off x="6729192" y="1724582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 dirty="0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Low</a:t>
            </a: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</a:endParaRPr>
          </a:p>
        </p:txBody>
      </p:sp>
      <p:sp>
        <p:nvSpPr>
          <p:cNvPr id="54" name="Rectangle: Rounded Corners 16">
            <a:extLst>
              <a:ext uri="{FF2B5EF4-FFF2-40B4-BE49-F238E27FC236}">
                <a16:creationId xmlns:a16="http://schemas.microsoft.com/office/drawing/2014/main" id="{12E7BE95-014E-4823-A0B4-D90A77AC48FF}"/>
              </a:ext>
            </a:extLst>
          </p:cNvPr>
          <p:cNvSpPr/>
          <p:nvPr/>
        </p:nvSpPr>
        <p:spPr>
          <a:xfrm>
            <a:off x="5461131" y="2103626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 dirty="0">
                <a:solidFill>
                  <a:prstClr val="black">
                    <a:lumMod val="85000"/>
                    <a:lumOff val="15000"/>
                  </a:prstClr>
                </a:solidFill>
              </a:rPr>
              <a:t>Complete</a:t>
            </a:r>
          </a:p>
        </p:txBody>
      </p:sp>
      <p:sp>
        <p:nvSpPr>
          <p:cNvPr id="55" name="Rectangle: Rounded Corners 17">
            <a:extLst>
              <a:ext uri="{FF2B5EF4-FFF2-40B4-BE49-F238E27FC236}">
                <a16:creationId xmlns:a16="http://schemas.microsoft.com/office/drawing/2014/main" id="{608725C6-779D-4773-9EF4-9F76B0CD497E}"/>
              </a:ext>
            </a:extLst>
          </p:cNvPr>
          <p:cNvSpPr/>
          <p:nvPr/>
        </p:nvSpPr>
        <p:spPr>
          <a:xfrm>
            <a:off x="6729192" y="2103626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 dirty="0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Low</a:t>
            </a: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</a:endParaRPr>
          </a:p>
        </p:txBody>
      </p:sp>
      <p:sp>
        <p:nvSpPr>
          <p:cNvPr id="60" name="Rectangle: Rounded Corners 22">
            <a:extLst>
              <a:ext uri="{FF2B5EF4-FFF2-40B4-BE49-F238E27FC236}">
                <a16:creationId xmlns:a16="http://schemas.microsoft.com/office/drawing/2014/main" id="{F8E14D53-84FD-40DB-9DD1-400E377FA728}"/>
              </a:ext>
            </a:extLst>
          </p:cNvPr>
          <p:cNvSpPr/>
          <p:nvPr/>
        </p:nvSpPr>
        <p:spPr>
          <a:xfrm>
            <a:off x="5461131" y="2843226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 dirty="0">
                <a:solidFill>
                  <a:prstClr val="black">
                    <a:lumMod val="85000"/>
                    <a:lumOff val="15000"/>
                  </a:prstClr>
                </a:solidFill>
              </a:rPr>
              <a:t>Complete</a:t>
            </a:r>
          </a:p>
        </p:txBody>
      </p:sp>
      <p:sp>
        <p:nvSpPr>
          <p:cNvPr id="61" name="Rectangle: Rounded Corners 23">
            <a:extLst>
              <a:ext uri="{FF2B5EF4-FFF2-40B4-BE49-F238E27FC236}">
                <a16:creationId xmlns:a16="http://schemas.microsoft.com/office/drawing/2014/main" id="{497144BE-473B-4BEB-A7D8-4E3C55F21E44}"/>
              </a:ext>
            </a:extLst>
          </p:cNvPr>
          <p:cNvSpPr/>
          <p:nvPr/>
        </p:nvSpPr>
        <p:spPr>
          <a:xfrm>
            <a:off x="6729192" y="2843226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 dirty="0">
                <a:solidFill>
                  <a:prstClr val="black">
                    <a:lumMod val="85000"/>
                    <a:lumOff val="15000"/>
                  </a:prstClr>
                </a:solidFill>
              </a:rPr>
              <a:t>Low</a:t>
            </a:r>
          </a:p>
        </p:txBody>
      </p:sp>
      <p:sp>
        <p:nvSpPr>
          <p:cNvPr id="63" name="Rectangle: Rounded Corners 25">
            <a:extLst>
              <a:ext uri="{FF2B5EF4-FFF2-40B4-BE49-F238E27FC236}">
                <a16:creationId xmlns:a16="http://schemas.microsoft.com/office/drawing/2014/main" id="{F28709C4-A97F-4361-AB00-061E6CDF0F22}"/>
              </a:ext>
            </a:extLst>
          </p:cNvPr>
          <p:cNvSpPr/>
          <p:nvPr/>
        </p:nvSpPr>
        <p:spPr>
          <a:xfrm>
            <a:off x="5461131" y="3213032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 dirty="0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WIP</a:t>
            </a:r>
            <a:endParaRPr lang="en-US" sz="1200" kern="0" dirty="0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sp>
        <p:nvSpPr>
          <p:cNvPr id="64" name="Rectangle: Rounded Corners 26">
            <a:extLst>
              <a:ext uri="{FF2B5EF4-FFF2-40B4-BE49-F238E27FC236}">
                <a16:creationId xmlns:a16="http://schemas.microsoft.com/office/drawing/2014/main" id="{E413E375-01D2-421D-A856-FF87114076FA}"/>
              </a:ext>
            </a:extLst>
          </p:cNvPr>
          <p:cNvSpPr/>
          <p:nvPr/>
        </p:nvSpPr>
        <p:spPr>
          <a:xfrm>
            <a:off x="6729192" y="3213032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 dirty="0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Low</a:t>
            </a:r>
            <a:endParaRPr lang="en-US" sz="1200" kern="0" dirty="0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sp>
        <p:nvSpPr>
          <p:cNvPr id="75" name="Graphic 3" descr="Checkmark">
            <a:extLst>
              <a:ext uri="{FF2B5EF4-FFF2-40B4-BE49-F238E27FC236}">
                <a16:creationId xmlns:a16="http://schemas.microsoft.com/office/drawing/2014/main" id="{D63D3523-A25B-4BE7-8B9A-5A45C7D5D402}"/>
              </a:ext>
            </a:extLst>
          </p:cNvPr>
          <p:cNvSpPr/>
          <p:nvPr/>
        </p:nvSpPr>
        <p:spPr>
          <a:xfrm>
            <a:off x="425583" y="1744790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3"/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6" name="Graphic 4" descr="Checkmark">
            <a:extLst>
              <a:ext uri="{FF2B5EF4-FFF2-40B4-BE49-F238E27FC236}">
                <a16:creationId xmlns:a16="http://schemas.microsoft.com/office/drawing/2014/main" id="{E4C028EE-A963-4398-81E5-E802D2DA5A35}"/>
              </a:ext>
            </a:extLst>
          </p:cNvPr>
          <p:cNvSpPr/>
          <p:nvPr/>
        </p:nvSpPr>
        <p:spPr>
          <a:xfrm>
            <a:off x="425583" y="2112967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3"/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7" name="Graphic 5" descr="Checkmark">
            <a:extLst>
              <a:ext uri="{FF2B5EF4-FFF2-40B4-BE49-F238E27FC236}">
                <a16:creationId xmlns:a16="http://schemas.microsoft.com/office/drawing/2014/main" id="{74CEBFA9-E10A-4A01-BC2D-62A7E277129D}"/>
              </a:ext>
            </a:extLst>
          </p:cNvPr>
          <p:cNvSpPr/>
          <p:nvPr/>
        </p:nvSpPr>
        <p:spPr>
          <a:xfrm>
            <a:off x="425583" y="2896776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3"/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8" name="Graphic 6" descr="Checkmark">
            <a:extLst>
              <a:ext uri="{FF2B5EF4-FFF2-40B4-BE49-F238E27FC236}">
                <a16:creationId xmlns:a16="http://schemas.microsoft.com/office/drawing/2014/main" id="{A642DABA-EFF8-4058-996A-20E7D9C33DB1}"/>
              </a:ext>
            </a:extLst>
          </p:cNvPr>
          <p:cNvSpPr/>
          <p:nvPr/>
        </p:nvSpPr>
        <p:spPr>
          <a:xfrm>
            <a:off x="425583" y="3264953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3"/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5" name="Rectangle: Rounded Corners 10">
            <a:extLst>
              <a:ext uri="{FF2B5EF4-FFF2-40B4-BE49-F238E27FC236}">
                <a16:creationId xmlns:a16="http://schemas.microsoft.com/office/drawing/2014/main" id="{D764091E-C2D2-468A-A73B-DB60B887EA62}"/>
              </a:ext>
            </a:extLst>
          </p:cNvPr>
          <p:cNvSpPr/>
          <p:nvPr/>
        </p:nvSpPr>
        <p:spPr>
          <a:xfrm>
            <a:off x="5461131" y="3952286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C1301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algn="ctr" defTabSz="914400">
              <a:defRPr/>
            </a:pPr>
            <a:r>
              <a:rPr lang="en-US" sz="1200" kern="0" dirty="0">
                <a:solidFill>
                  <a:prstClr val="white"/>
                </a:solidFill>
              </a:rPr>
              <a:t>Not started</a:t>
            </a:r>
          </a:p>
        </p:txBody>
      </p:sp>
      <p:sp>
        <p:nvSpPr>
          <p:cNvPr id="86" name="Rectangle: Rounded Corners 11">
            <a:extLst>
              <a:ext uri="{FF2B5EF4-FFF2-40B4-BE49-F238E27FC236}">
                <a16:creationId xmlns:a16="http://schemas.microsoft.com/office/drawing/2014/main" id="{DBDAD6C8-EA4D-41DE-809E-7E5698F64AB8}"/>
              </a:ext>
            </a:extLst>
          </p:cNvPr>
          <p:cNvSpPr/>
          <p:nvPr/>
        </p:nvSpPr>
        <p:spPr>
          <a:xfrm>
            <a:off x="6729192" y="3952286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 dirty="0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High</a:t>
            </a:r>
            <a:endParaRPr lang="en-US" sz="1200" kern="0" dirty="0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sp>
        <p:nvSpPr>
          <p:cNvPr id="88" name="Rectangle: Rounded Corners 13">
            <a:extLst>
              <a:ext uri="{FF2B5EF4-FFF2-40B4-BE49-F238E27FC236}">
                <a16:creationId xmlns:a16="http://schemas.microsoft.com/office/drawing/2014/main" id="{E415017B-CFE6-4C23-8D29-5128C86E4DB7}"/>
              </a:ext>
            </a:extLst>
          </p:cNvPr>
          <p:cNvSpPr/>
          <p:nvPr/>
        </p:nvSpPr>
        <p:spPr>
          <a:xfrm>
            <a:off x="5461131" y="4331325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C1301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algn="ctr" defTabSz="914400">
              <a:defRPr/>
            </a:pPr>
            <a:r>
              <a:rPr lang="en-US" sz="1200" kern="0" dirty="0">
                <a:solidFill>
                  <a:prstClr val="white"/>
                </a:solidFill>
              </a:rPr>
              <a:t>Not started</a:t>
            </a:r>
          </a:p>
        </p:txBody>
      </p:sp>
      <p:sp>
        <p:nvSpPr>
          <p:cNvPr id="89" name="Rectangle: Rounded Corners 14">
            <a:extLst>
              <a:ext uri="{FF2B5EF4-FFF2-40B4-BE49-F238E27FC236}">
                <a16:creationId xmlns:a16="http://schemas.microsoft.com/office/drawing/2014/main" id="{C9A2C356-86EB-4E0D-AC31-2CF89823DAD6}"/>
              </a:ext>
            </a:extLst>
          </p:cNvPr>
          <p:cNvSpPr/>
          <p:nvPr/>
        </p:nvSpPr>
        <p:spPr>
          <a:xfrm>
            <a:off x="6729192" y="4331325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 dirty="0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High</a:t>
            </a:r>
            <a:endParaRPr lang="en-US" sz="1200" kern="0" dirty="0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sp>
        <p:nvSpPr>
          <p:cNvPr id="94" name="Rectangle: Rounded Corners 19">
            <a:extLst>
              <a:ext uri="{FF2B5EF4-FFF2-40B4-BE49-F238E27FC236}">
                <a16:creationId xmlns:a16="http://schemas.microsoft.com/office/drawing/2014/main" id="{C2430B2B-A561-4A66-9DAD-308D29EB770F}"/>
              </a:ext>
            </a:extLst>
          </p:cNvPr>
          <p:cNvSpPr/>
          <p:nvPr/>
        </p:nvSpPr>
        <p:spPr>
          <a:xfrm>
            <a:off x="5461131" y="5070931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C1301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 dirty="0">
                <a:solidFill>
                  <a:prstClr val="white"/>
                </a:solidFill>
              </a:rPr>
              <a:t>Not started</a:t>
            </a:r>
          </a:p>
        </p:txBody>
      </p:sp>
      <p:sp>
        <p:nvSpPr>
          <p:cNvPr id="95" name="Rectangle: Rounded Corners 20">
            <a:extLst>
              <a:ext uri="{FF2B5EF4-FFF2-40B4-BE49-F238E27FC236}">
                <a16:creationId xmlns:a16="http://schemas.microsoft.com/office/drawing/2014/main" id="{69B9705E-76FE-48B8-AE75-BC63F5A0D96A}"/>
              </a:ext>
            </a:extLst>
          </p:cNvPr>
          <p:cNvSpPr/>
          <p:nvPr/>
        </p:nvSpPr>
        <p:spPr>
          <a:xfrm>
            <a:off x="6729192" y="5070931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ea typeface="+mn-ea"/>
                <a:cs typeface="+mn-cs"/>
              </a:rPr>
              <a:t>High</a:t>
            </a:r>
          </a:p>
        </p:txBody>
      </p:sp>
      <p:sp>
        <p:nvSpPr>
          <p:cNvPr id="97" name="Rectangle: Rounded Corners 22">
            <a:extLst>
              <a:ext uri="{FF2B5EF4-FFF2-40B4-BE49-F238E27FC236}">
                <a16:creationId xmlns:a16="http://schemas.microsoft.com/office/drawing/2014/main" id="{F8E14D53-84FD-40DB-9DD1-400E377FA728}"/>
              </a:ext>
            </a:extLst>
          </p:cNvPr>
          <p:cNvSpPr/>
          <p:nvPr/>
        </p:nvSpPr>
        <p:spPr>
          <a:xfrm>
            <a:off x="5461131" y="5449970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C1301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 dirty="0">
                <a:solidFill>
                  <a:prstClr val="white"/>
                </a:solidFill>
              </a:rPr>
              <a:t>Not started</a:t>
            </a:r>
          </a:p>
        </p:txBody>
      </p:sp>
      <p:sp>
        <p:nvSpPr>
          <p:cNvPr id="98" name="Rectangle: Rounded Corners 23">
            <a:extLst>
              <a:ext uri="{FF2B5EF4-FFF2-40B4-BE49-F238E27FC236}">
                <a16:creationId xmlns:a16="http://schemas.microsoft.com/office/drawing/2014/main" id="{497144BE-473B-4BEB-A7D8-4E3C55F21E44}"/>
              </a:ext>
            </a:extLst>
          </p:cNvPr>
          <p:cNvSpPr/>
          <p:nvPr/>
        </p:nvSpPr>
        <p:spPr>
          <a:xfrm>
            <a:off x="6729192" y="5449970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algn="ctr" defTabSz="914400">
              <a:defRPr/>
            </a:pPr>
            <a:r>
              <a:rPr lang="en-US" sz="1200" kern="0" dirty="0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High</a:t>
            </a:r>
            <a:endParaRPr lang="en-US" sz="1200" kern="0" dirty="0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sp>
        <p:nvSpPr>
          <p:cNvPr id="100" name="Rectangle: Rounded Corners 25">
            <a:extLst>
              <a:ext uri="{FF2B5EF4-FFF2-40B4-BE49-F238E27FC236}">
                <a16:creationId xmlns:a16="http://schemas.microsoft.com/office/drawing/2014/main" id="{F28709C4-A97F-4361-AB00-061E6CDF0F22}"/>
              </a:ext>
            </a:extLst>
          </p:cNvPr>
          <p:cNvSpPr/>
          <p:nvPr/>
        </p:nvSpPr>
        <p:spPr>
          <a:xfrm>
            <a:off x="5461131" y="5829014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C1301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 dirty="0">
                <a:solidFill>
                  <a:prstClr val="white"/>
                </a:solidFill>
              </a:rPr>
              <a:t>Not started</a:t>
            </a:r>
          </a:p>
        </p:txBody>
      </p:sp>
      <p:sp>
        <p:nvSpPr>
          <p:cNvPr id="101" name="Rectangle: Rounded Corners 26">
            <a:extLst>
              <a:ext uri="{FF2B5EF4-FFF2-40B4-BE49-F238E27FC236}">
                <a16:creationId xmlns:a16="http://schemas.microsoft.com/office/drawing/2014/main" id="{E413E375-01D2-421D-A856-FF87114076FA}"/>
              </a:ext>
            </a:extLst>
          </p:cNvPr>
          <p:cNvSpPr/>
          <p:nvPr/>
        </p:nvSpPr>
        <p:spPr>
          <a:xfrm>
            <a:off x="6729192" y="5829014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algn="ctr" defTabSz="914400">
              <a:defRPr/>
            </a:pPr>
            <a:r>
              <a:rPr lang="en-US" sz="1200" kern="0" dirty="0">
                <a:solidFill>
                  <a:prstClr val="black">
                    <a:lumMod val="85000"/>
                    <a:lumOff val="15000"/>
                  </a:prstClr>
                </a:solidFill>
              </a:rPr>
              <a:t>Medium</a:t>
            </a:r>
          </a:p>
        </p:txBody>
      </p:sp>
      <p:sp>
        <p:nvSpPr>
          <p:cNvPr id="102" name="Graphic 3" descr="Checkmark">
            <a:extLst>
              <a:ext uri="{FF2B5EF4-FFF2-40B4-BE49-F238E27FC236}">
                <a16:creationId xmlns:a16="http://schemas.microsoft.com/office/drawing/2014/main" id="{D63D3523-A25B-4BE7-8B9A-5A45C7D5D402}"/>
              </a:ext>
            </a:extLst>
          </p:cNvPr>
          <p:cNvSpPr/>
          <p:nvPr/>
        </p:nvSpPr>
        <p:spPr>
          <a:xfrm>
            <a:off x="425583" y="3949415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3" name="Graphic 4" descr="Checkmark">
            <a:extLst>
              <a:ext uri="{FF2B5EF4-FFF2-40B4-BE49-F238E27FC236}">
                <a16:creationId xmlns:a16="http://schemas.microsoft.com/office/drawing/2014/main" id="{E4C028EE-A963-4398-81E5-E802D2DA5A35}"/>
              </a:ext>
            </a:extLst>
          </p:cNvPr>
          <p:cNvSpPr/>
          <p:nvPr/>
        </p:nvSpPr>
        <p:spPr>
          <a:xfrm>
            <a:off x="425583" y="4317592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5" name="Graphic 6" descr="Checkmark">
            <a:extLst>
              <a:ext uri="{FF2B5EF4-FFF2-40B4-BE49-F238E27FC236}">
                <a16:creationId xmlns:a16="http://schemas.microsoft.com/office/drawing/2014/main" id="{A642DABA-EFF8-4058-996A-20E7D9C33DB1}"/>
              </a:ext>
            </a:extLst>
          </p:cNvPr>
          <p:cNvSpPr/>
          <p:nvPr/>
        </p:nvSpPr>
        <p:spPr>
          <a:xfrm>
            <a:off x="425583" y="5137071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6" name="Graphic 7" descr="Checkmark">
            <a:extLst>
              <a:ext uri="{FF2B5EF4-FFF2-40B4-BE49-F238E27FC236}">
                <a16:creationId xmlns:a16="http://schemas.microsoft.com/office/drawing/2014/main" id="{D0FB9DBC-BC27-4AB4-8F85-F92EF099072D}"/>
              </a:ext>
            </a:extLst>
          </p:cNvPr>
          <p:cNvSpPr/>
          <p:nvPr/>
        </p:nvSpPr>
        <p:spPr>
          <a:xfrm>
            <a:off x="425583" y="5505248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7" name="Graphic 8" descr="Checkmark">
            <a:extLst>
              <a:ext uri="{FF2B5EF4-FFF2-40B4-BE49-F238E27FC236}">
                <a16:creationId xmlns:a16="http://schemas.microsoft.com/office/drawing/2014/main" id="{9441916A-F2E6-4E26-9340-83E49F1C76FD}"/>
              </a:ext>
            </a:extLst>
          </p:cNvPr>
          <p:cNvSpPr/>
          <p:nvPr/>
        </p:nvSpPr>
        <p:spPr>
          <a:xfrm>
            <a:off x="425583" y="5873423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436943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3B3D9-5974-6DF1-41E8-FE8BB3E28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8"/>
            <a:ext cx="11204448" cy="463610"/>
          </a:xfrm>
        </p:spPr>
        <p:txBody>
          <a:bodyPr/>
          <a:lstStyle/>
          <a:p>
            <a:r>
              <a:rPr lang="en-US" dirty="0"/>
              <a:t>Project Status &amp; </a:t>
            </a:r>
            <a:r>
              <a:rPr lang="en-US" dirty="0" smtClean="0"/>
              <a:t>Milestones – BI &amp; Reporting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F66A7C-FACA-CDF4-CE52-E253CDBB6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828501-58BA-692E-22E4-583AADE806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46" name="Table 4">
            <a:extLst>
              <a:ext uri="{FF2B5EF4-FFF2-40B4-BE49-F238E27FC236}">
                <a16:creationId xmlns:a16="http://schemas.microsoft.com/office/drawing/2014/main" id="{53EA420E-C862-42CC-AD0A-0CD5E908B4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1961548"/>
              </p:ext>
            </p:extLst>
          </p:nvPr>
        </p:nvGraphicFramePr>
        <p:xfrm>
          <a:off x="746988" y="886693"/>
          <a:ext cx="10951236" cy="5258413"/>
        </p:xfrm>
        <a:graphic>
          <a:graphicData uri="http://schemas.openxmlformats.org/drawingml/2006/table">
            <a:tbl>
              <a:tblPr firstRow="1" bandRow="1"/>
              <a:tblGrid>
                <a:gridCol w="330653">
                  <a:extLst>
                    <a:ext uri="{9D8B030D-6E8A-4147-A177-3AD203B41FA5}">
                      <a16:colId xmlns:a16="http://schemas.microsoft.com/office/drawing/2014/main" val="591996495"/>
                    </a:ext>
                  </a:extLst>
                </a:gridCol>
                <a:gridCol w="4353341">
                  <a:extLst>
                    <a:ext uri="{9D8B030D-6E8A-4147-A177-3AD203B41FA5}">
                      <a16:colId xmlns:a16="http://schemas.microsoft.com/office/drawing/2014/main" val="1871347559"/>
                    </a:ext>
                  </a:extLst>
                </a:gridCol>
                <a:gridCol w="1274618">
                  <a:extLst>
                    <a:ext uri="{9D8B030D-6E8A-4147-A177-3AD203B41FA5}">
                      <a16:colId xmlns:a16="http://schemas.microsoft.com/office/drawing/2014/main" val="1440275523"/>
                    </a:ext>
                  </a:extLst>
                </a:gridCol>
                <a:gridCol w="1265382">
                  <a:extLst>
                    <a:ext uri="{9D8B030D-6E8A-4147-A177-3AD203B41FA5}">
                      <a16:colId xmlns:a16="http://schemas.microsoft.com/office/drawing/2014/main" val="643326090"/>
                    </a:ext>
                  </a:extLst>
                </a:gridCol>
                <a:gridCol w="1394691">
                  <a:extLst>
                    <a:ext uri="{9D8B030D-6E8A-4147-A177-3AD203B41FA5}">
                      <a16:colId xmlns:a16="http://schemas.microsoft.com/office/drawing/2014/main" val="927228342"/>
                    </a:ext>
                  </a:extLst>
                </a:gridCol>
                <a:gridCol w="2332551">
                  <a:extLst>
                    <a:ext uri="{9D8B030D-6E8A-4147-A177-3AD203B41FA5}">
                      <a16:colId xmlns:a16="http://schemas.microsoft.com/office/drawing/2014/main" val="4023779838"/>
                    </a:ext>
                  </a:extLst>
                </a:gridCol>
              </a:tblGrid>
              <a:tr h="403124">
                <a:tc gridSpan="2">
                  <a:txBody>
                    <a:bodyPr/>
                    <a:lstStyle>
                      <a:lvl1pPr marL="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457189" rtl="0" eaLnBrk="1" latinLnBrk="0" hangingPunct="1">
                        <a:lnSpc>
                          <a:spcPct val="150000"/>
                        </a:lnSpc>
                      </a:pPr>
                      <a:r>
                        <a:rPr lang="en-US" sz="1400" b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Data Engineering</a:t>
                      </a:r>
                      <a:endParaRPr lang="en-US" sz="14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457189" rtl="0" eaLnBrk="1" latinLnBrk="0" hangingPunct="1"/>
                      <a:r>
                        <a:rPr lang="en-US" sz="1400" b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Progress</a:t>
                      </a:r>
                      <a:endParaRPr lang="en-US" sz="14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457189" rtl="0" eaLnBrk="1" latinLnBrk="0" hangingPunct="1"/>
                      <a:r>
                        <a:rPr lang="en-US" sz="1400" b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Risk Level</a:t>
                      </a:r>
                      <a:endParaRPr lang="en-US" sz="14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457189" rtl="0" eaLnBrk="1" latinLnBrk="0" hangingPunct="1"/>
                      <a:r>
                        <a:rPr lang="en-US" sz="1400" b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Complete Week</a:t>
                      </a:r>
                      <a:endParaRPr lang="en-US" sz="14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457189" rtl="0" eaLnBrk="1" latinLnBrk="0" hangingPunct="1"/>
                      <a:r>
                        <a:rPr lang="en-US" sz="1400" b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Dependencies &amp; Challenges</a:t>
                      </a:r>
                      <a:endParaRPr lang="en-US" sz="14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054875"/>
                  </a:ext>
                </a:extLst>
              </a:tr>
              <a:tr h="372841">
                <a:tc gridSpan="2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200" b="1" noProof="1" smtClean="0">
                          <a:solidFill>
                            <a:schemeClr val="tx1"/>
                          </a:solidFill>
                        </a:rPr>
                        <a:t>Activity 1 –Wire Frame/Mock up Design for the Problem Statement </a:t>
                      </a:r>
                      <a:endParaRPr lang="en-US" sz="1200" b="1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noProof="1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1926703"/>
                  </a:ext>
                </a:extLst>
              </a:tr>
              <a:tr h="372841"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bg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|__ Design Mock up Wireframe for Business Agreement</a:t>
                      </a: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baseline="0" noProof="1" smtClean="0">
                          <a:solidFill>
                            <a:schemeClr val="tx1"/>
                          </a:solidFill>
                        </a:rPr>
                        <a:t>WE 16</a:t>
                      </a:r>
                      <a:r>
                        <a:rPr lang="en-US" sz="1200" baseline="30000" noProof="1" smtClean="0">
                          <a:solidFill>
                            <a:schemeClr val="tx1"/>
                          </a:solidFill>
                        </a:rPr>
                        <a:t>th</a:t>
                      </a:r>
                      <a:r>
                        <a:rPr lang="en-US" sz="1200" baseline="0" noProof="1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noProof="1" smtClean="0">
                          <a:solidFill>
                            <a:schemeClr val="tx1"/>
                          </a:solidFill>
                        </a:rPr>
                        <a:t>September</a:t>
                      </a:r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noProof="1" smtClean="0">
                          <a:solidFill>
                            <a:schemeClr val="tx1"/>
                          </a:solidFill>
                        </a:rPr>
                        <a:t>Design Validation &amp; Agreement on the Final Wireframe</a:t>
                      </a:r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606401"/>
                  </a:ext>
                </a:extLst>
              </a:tr>
              <a:tr h="372841"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bg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|__Iterative on the Agreed Design and Functionality</a:t>
                      </a: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baseline="0" noProof="1" smtClean="0">
                          <a:solidFill>
                            <a:schemeClr val="tx1"/>
                          </a:solidFill>
                        </a:rPr>
                        <a:t>WE 23</a:t>
                      </a:r>
                      <a:r>
                        <a:rPr lang="en-US" sz="1200" baseline="30000" noProof="1" smtClean="0">
                          <a:solidFill>
                            <a:schemeClr val="tx1"/>
                          </a:solidFill>
                        </a:rPr>
                        <a:t>rd</a:t>
                      </a:r>
                      <a:r>
                        <a:rPr lang="en-US" sz="1200" baseline="0" noProof="1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noProof="1" smtClean="0">
                          <a:solidFill>
                            <a:schemeClr val="tx1"/>
                          </a:solidFill>
                        </a:rPr>
                        <a:t>September</a:t>
                      </a:r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2082998"/>
                  </a:ext>
                </a:extLst>
              </a:tr>
              <a:tr h="372841">
                <a:tc gridSpan="2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noProof="1" smtClean="0">
                          <a:solidFill>
                            <a:schemeClr val="tx1"/>
                          </a:solidFill>
                        </a:rPr>
                        <a:t>Activity 2 – </a:t>
                      </a:r>
                      <a:r>
                        <a:rPr lang="en-US" sz="1200" b="1" kern="1200" noProof="1" smtClean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Map/validate Columns to the Data Model (Fact Tables)</a:t>
                      </a:r>
                      <a:endParaRPr lang="da-DK" sz="1200" b="1" kern="1200" noProof="1">
                        <a:solidFill>
                          <a:schemeClr val="tx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4485023"/>
                  </a:ext>
                </a:extLst>
              </a:tr>
              <a:tr h="372841"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|__ Upload Account Fact Table &amp; Profile Fact Table</a:t>
                      </a: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baseline="0" noProof="1" smtClean="0">
                          <a:solidFill>
                            <a:schemeClr val="tx1"/>
                          </a:solidFill>
                        </a:rPr>
                        <a:t>WE 18</a:t>
                      </a:r>
                      <a:r>
                        <a:rPr lang="en-US" sz="1200" baseline="30000" noProof="1" smtClean="0">
                          <a:solidFill>
                            <a:schemeClr val="tx1"/>
                          </a:solidFill>
                        </a:rPr>
                        <a:t>th</a:t>
                      </a:r>
                      <a:r>
                        <a:rPr lang="en-US" sz="1200" baseline="0" noProof="1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noProof="1" smtClean="0">
                          <a:solidFill>
                            <a:schemeClr val="tx1"/>
                          </a:solidFill>
                        </a:rPr>
                        <a:t>October</a:t>
                      </a:r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noProof="1" smtClean="0">
                          <a:solidFill>
                            <a:schemeClr val="tx1"/>
                          </a:solidFill>
                        </a:rPr>
                        <a:t>Data Mapping/Validation to Design Wireframe &amp; Transformation</a:t>
                      </a:r>
                      <a:r>
                        <a:rPr lang="en-US" sz="1200" baseline="0" noProof="1" smtClean="0">
                          <a:solidFill>
                            <a:schemeClr val="tx1"/>
                          </a:solidFill>
                        </a:rPr>
                        <a:t> Assessment</a:t>
                      </a:r>
                      <a:endParaRPr lang="en-US" sz="1200" noProof="1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3436198"/>
                  </a:ext>
                </a:extLst>
              </a:tr>
              <a:tr h="372841"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1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|__ Transaction Fact Octa Table &amp; Transaction Fact Adobe Table</a:t>
                      </a:r>
                      <a:endParaRPr kumimoji="0" lang="en-US" sz="12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noProof="1" smtClean="0">
                          <a:solidFill>
                            <a:schemeClr val="tx1"/>
                          </a:solidFill>
                        </a:rPr>
                        <a:t>WE 18</a:t>
                      </a:r>
                      <a:r>
                        <a:rPr lang="en-US" sz="1200" baseline="30000" noProof="1" smtClean="0">
                          <a:solidFill>
                            <a:schemeClr val="tx1"/>
                          </a:solidFill>
                        </a:rPr>
                        <a:t>th</a:t>
                      </a:r>
                      <a:r>
                        <a:rPr lang="en-US" sz="1200" baseline="0" noProof="1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noProof="1" smtClean="0">
                          <a:solidFill>
                            <a:schemeClr val="tx1"/>
                          </a:solidFill>
                        </a:rPr>
                        <a:t>October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algn="ctr" defTabSz="457189" rtl="0" eaLnBrk="1" latinLnBrk="0" hangingPunct="1"/>
                      <a:endParaRPr lang="en-US" sz="1200" kern="1200" noProof="1" smtClean="0">
                        <a:solidFill>
                          <a:schemeClr val="tx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4437463"/>
                  </a:ext>
                </a:extLst>
              </a:tr>
              <a:tr h="372841">
                <a:tc gridSpan="2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noProof="1" smtClean="0">
                          <a:solidFill>
                            <a:schemeClr val="tx1"/>
                          </a:solidFill>
                        </a:rPr>
                        <a:t>Demo &amp; Iterate on the Agreed Design with Actual Data on Tableau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noProof="1"/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1103034"/>
                  </a:ext>
                </a:extLst>
              </a:tr>
              <a:tr h="372841"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|__ Integrate with Data Ingestion through ETL Pieplines</a:t>
                      </a: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noProof="1" smtClean="0">
                          <a:solidFill>
                            <a:schemeClr val="tx1"/>
                          </a:solidFill>
                        </a:rPr>
                        <a:t>WE 15</a:t>
                      </a:r>
                      <a:r>
                        <a:rPr lang="en-US" sz="1200" baseline="30000" noProof="1" smtClean="0">
                          <a:solidFill>
                            <a:schemeClr val="tx1"/>
                          </a:solidFill>
                        </a:rPr>
                        <a:t>st</a:t>
                      </a:r>
                      <a:r>
                        <a:rPr lang="en-US" sz="1200" baseline="0" noProof="1" smtClean="0">
                          <a:solidFill>
                            <a:schemeClr val="tx1"/>
                          </a:solidFill>
                        </a:rPr>
                        <a:t> November</a:t>
                      </a:r>
                      <a:endParaRPr lang="en-US" sz="1200" noProof="1" smtClean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en-US" sz="1200" kern="1200" noProof="1" smtClean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Tableau</a:t>
                      </a:r>
                      <a:r>
                        <a:rPr lang="en-US" sz="1200" kern="1200" baseline="0" noProof="1" smtClean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 &amp; </a:t>
                      </a:r>
                      <a:r>
                        <a:rPr lang="en-US" sz="1200" kern="1200" noProof="1" smtClean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ETL</a:t>
                      </a:r>
                      <a:r>
                        <a:rPr lang="en-US" sz="1200" kern="1200" baseline="0" noProof="1" smtClean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 Implementation &amp; Completion by the Data Team</a:t>
                      </a:r>
                      <a:endParaRPr lang="en-US" sz="1200" kern="1200" noProof="1">
                        <a:solidFill>
                          <a:schemeClr val="tx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8339243"/>
                  </a:ext>
                </a:extLst>
              </a:tr>
              <a:tr h="3728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|__ Data Tarnsformation &amp; Design/Report Validation</a:t>
                      </a: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noProof="1" smtClean="0">
                          <a:solidFill>
                            <a:schemeClr val="tx1"/>
                          </a:solidFill>
                        </a:rPr>
                        <a:t>WE 15</a:t>
                      </a:r>
                      <a:r>
                        <a:rPr lang="en-US" sz="1200" baseline="30000" noProof="1" smtClean="0">
                          <a:solidFill>
                            <a:schemeClr val="tx1"/>
                          </a:solidFill>
                        </a:rPr>
                        <a:t>st</a:t>
                      </a:r>
                      <a:r>
                        <a:rPr lang="en-US" sz="1200" baseline="0" noProof="1" smtClean="0">
                          <a:solidFill>
                            <a:schemeClr val="tx1"/>
                          </a:solidFill>
                        </a:rPr>
                        <a:t> November</a:t>
                      </a:r>
                      <a:endParaRPr lang="en-US" sz="1200" noProof="1" smtClean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7396125"/>
                  </a:ext>
                </a:extLst>
              </a:tr>
              <a:tr h="372841">
                <a:tc gridSpan="2"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noProof="1" smtClean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Dashboards Development &amp;</a:t>
                      </a:r>
                      <a:r>
                        <a:rPr lang="en-US" sz="1200" b="1" kern="1200" baseline="0" noProof="1" smtClean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 Getting Ready for Production</a:t>
                      </a:r>
                      <a:endParaRPr lang="en-US" sz="1200" b="1" kern="1200" noProof="1">
                        <a:solidFill>
                          <a:schemeClr val="tx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a-DK" sz="1800" b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uLnTx/>
                        <a:uFillTx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noProof="1"/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3575882"/>
                  </a:ext>
                </a:extLst>
              </a:tr>
              <a:tr h="3728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|__ </a:t>
                      </a:r>
                      <a:r>
                        <a:rPr kumimoji="0" lang="en-US" sz="1200" b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reation of Profile &amp; Activity Dashboards</a:t>
                      </a:r>
                      <a:endParaRPr kumimoji="0" lang="da-DK" sz="1200" b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noProof="1" smtClean="0">
                          <a:solidFill>
                            <a:schemeClr val="tx1"/>
                          </a:solidFill>
                        </a:rPr>
                        <a:t>WE 29</a:t>
                      </a:r>
                      <a:r>
                        <a:rPr lang="en-US" sz="1200" baseline="30000" noProof="1" smtClean="0">
                          <a:solidFill>
                            <a:schemeClr val="tx1"/>
                          </a:solidFill>
                        </a:rPr>
                        <a:t>th</a:t>
                      </a:r>
                      <a:r>
                        <a:rPr lang="en-US" sz="1200" baseline="0" noProof="1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noProof="1" smtClean="0">
                          <a:solidFill>
                            <a:schemeClr val="tx1"/>
                          </a:solidFill>
                        </a:rPr>
                        <a:t>November</a:t>
                      </a:r>
                      <a:endParaRPr lang="en-US" sz="1200" noProof="1" smtClean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en-US" sz="1200" kern="1200" noProof="1" smtClean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Previous</a:t>
                      </a:r>
                      <a:r>
                        <a:rPr lang="en-US" sz="1200" kern="1200" baseline="0" noProof="1" smtClean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 Tasks and </a:t>
                      </a:r>
                      <a:r>
                        <a:rPr lang="en-US" sz="1200" kern="1200" noProof="1" smtClean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Validation</a:t>
                      </a:r>
                      <a:r>
                        <a:rPr lang="en-US" sz="1200" kern="1200" baseline="0" noProof="1" smtClean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 &amp; Sign off by the Business Teams</a:t>
                      </a:r>
                      <a:endParaRPr lang="en-US" sz="1200" kern="1200" noProof="1">
                        <a:solidFill>
                          <a:schemeClr val="tx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8521403"/>
                  </a:ext>
                </a:extLst>
              </a:tr>
              <a:tr h="3728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|__</a:t>
                      </a:r>
                      <a:r>
                        <a:rPr kumimoji="0" lang="en-US" sz="1800" b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 </a:t>
                      </a:r>
                      <a:r>
                        <a:rPr kumimoji="0" lang="da-DK" sz="1200" b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Testing of the Dashboards by Dev Team &amp; Production SM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aseline="0" noProof="1" smtClean="0">
                          <a:solidFill>
                            <a:schemeClr val="tx1"/>
                          </a:solidFill>
                        </a:rPr>
                        <a:t>WE 29</a:t>
                      </a:r>
                      <a:r>
                        <a:rPr lang="en-US" sz="1200" baseline="30000" noProof="1" smtClean="0">
                          <a:solidFill>
                            <a:schemeClr val="tx1"/>
                          </a:solidFill>
                        </a:rPr>
                        <a:t>th</a:t>
                      </a:r>
                      <a:r>
                        <a:rPr lang="en-US" sz="1200" baseline="0" noProof="1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noProof="1" smtClean="0">
                          <a:solidFill>
                            <a:schemeClr val="tx1"/>
                          </a:solidFill>
                        </a:rPr>
                        <a:t>November</a:t>
                      </a:r>
                      <a:endParaRPr lang="en-US" sz="1200" noProof="1"/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6149753"/>
                  </a:ext>
                </a:extLst>
              </a:tr>
              <a:tr h="372841">
                <a:tc gridSpan="2"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noProof="1" smtClean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Dashboards </a:t>
                      </a:r>
                      <a:r>
                        <a:rPr lang="en-US" sz="1200" b="1" kern="1200" baseline="0" noProof="1" smtClean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Production Deployment &amp; Training</a:t>
                      </a:r>
                      <a:endParaRPr lang="en-US" sz="1200" b="1" kern="1200" noProof="1">
                        <a:solidFill>
                          <a:schemeClr val="tx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a-DK" sz="1800" b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uLnTx/>
                        <a:uFillTx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E 6</a:t>
                      </a:r>
                      <a:r>
                        <a:rPr kumimoji="0" lang="en-US" sz="1200" b="0" i="0" u="none" strike="noStrike" kern="1200" cap="none" spc="0" normalizeH="0" baseline="3000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</a:t>
                      </a:r>
                      <a:r>
                        <a:rPr kumimoji="0" lang="en-US" sz="12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ecember</a:t>
                      </a: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noProof="1" smtClean="0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TBD</a:t>
                      </a:r>
                      <a:endParaRPr lang="en-US" sz="1200" kern="1200" noProof="1">
                        <a:solidFill>
                          <a:schemeClr val="tx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9402842"/>
                  </a:ext>
                </a:extLst>
              </a:tr>
            </a:tbl>
          </a:graphicData>
        </a:graphic>
      </p:graphicFrame>
      <p:sp>
        <p:nvSpPr>
          <p:cNvPr id="51" name="Rectangle: Rounded Corners 13">
            <a:extLst>
              <a:ext uri="{FF2B5EF4-FFF2-40B4-BE49-F238E27FC236}">
                <a16:creationId xmlns:a16="http://schemas.microsoft.com/office/drawing/2014/main" id="{E415017B-CFE6-4C23-8D29-5128C86E4DB7}"/>
              </a:ext>
            </a:extLst>
          </p:cNvPr>
          <p:cNvSpPr/>
          <p:nvPr/>
        </p:nvSpPr>
        <p:spPr>
          <a:xfrm>
            <a:off x="5461131" y="1715346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 dirty="0">
                <a:solidFill>
                  <a:prstClr val="black">
                    <a:lumMod val="85000"/>
                    <a:lumOff val="15000"/>
                  </a:prstClr>
                </a:solidFill>
              </a:rPr>
              <a:t>Complete</a:t>
            </a:r>
          </a:p>
        </p:txBody>
      </p:sp>
      <p:sp>
        <p:nvSpPr>
          <p:cNvPr id="52" name="Rectangle: Rounded Corners 14">
            <a:extLst>
              <a:ext uri="{FF2B5EF4-FFF2-40B4-BE49-F238E27FC236}">
                <a16:creationId xmlns:a16="http://schemas.microsoft.com/office/drawing/2014/main" id="{C9A2C356-86EB-4E0D-AC31-2CF89823DAD6}"/>
              </a:ext>
            </a:extLst>
          </p:cNvPr>
          <p:cNvSpPr/>
          <p:nvPr/>
        </p:nvSpPr>
        <p:spPr>
          <a:xfrm>
            <a:off x="6729192" y="1715346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 dirty="0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Low</a:t>
            </a: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</a:endParaRPr>
          </a:p>
        </p:txBody>
      </p:sp>
      <p:sp>
        <p:nvSpPr>
          <p:cNvPr id="54" name="Rectangle: Rounded Corners 16">
            <a:extLst>
              <a:ext uri="{FF2B5EF4-FFF2-40B4-BE49-F238E27FC236}">
                <a16:creationId xmlns:a16="http://schemas.microsoft.com/office/drawing/2014/main" id="{12E7BE95-014E-4823-A0B4-D90A77AC48FF}"/>
              </a:ext>
            </a:extLst>
          </p:cNvPr>
          <p:cNvSpPr/>
          <p:nvPr/>
        </p:nvSpPr>
        <p:spPr>
          <a:xfrm>
            <a:off x="5461131" y="2094390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 dirty="0">
                <a:solidFill>
                  <a:prstClr val="black">
                    <a:lumMod val="85000"/>
                    <a:lumOff val="15000"/>
                  </a:prstClr>
                </a:solidFill>
              </a:rPr>
              <a:t>Complete</a:t>
            </a:r>
          </a:p>
        </p:txBody>
      </p:sp>
      <p:sp>
        <p:nvSpPr>
          <p:cNvPr id="55" name="Rectangle: Rounded Corners 17">
            <a:extLst>
              <a:ext uri="{FF2B5EF4-FFF2-40B4-BE49-F238E27FC236}">
                <a16:creationId xmlns:a16="http://schemas.microsoft.com/office/drawing/2014/main" id="{608725C6-779D-4773-9EF4-9F76B0CD497E}"/>
              </a:ext>
            </a:extLst>
          </p:cNvPr>
          <p:cNvSpPr/>
          <p:nvPr/>
        </p:nvSpPr>
        <p:spPr>
          <a:xfrm>
            <a:off x="6729192" y="2094390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 dirty="0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Low</a:t>
            </a: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</a:endParaRPr>
          </a:p>
        </p:txBody>
      </p:sp>
      <p:sp>
        <p:nvSpPr>
          <p:cNvPr id="60" name="Rectangle: Rounded Corners 22">
            <a:extLst>
              <a:ext uri="{FF2B5EF4-FFF2-40B4-BE49-F238E27FC236}">
                <a16:creationId xmlns:a16="http://schemas.microsoft.com/office/drawing/2014/main" id="{F8E14D53-84FD-40DB-9DD1-400E377FA728}"/>
              </a:ext>
            </a:extLst>
          </p:cNvPr>
          <p:cNvSpPr/>
          <p:nvPr/>
        </p:nvSpPr>
        <p:spPr>
          <a:xfrm>
            <a:off x="5461131" y="2833990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 dirty="0">
                <a:solidFill>
                  <a:prstClr val="black">
                    <a:lumMod val="85000"/>
                    <a:lumOff val="15000"/>
                  </a:prstClr>
                </a:solidFill>
              </a:rPr>
              <a:t>WIP</a:t>
            </a:r>
          </a:p>
        </p:txBody>
      </p:sp>
      <p:sp>
        <p:nvSpPr>
          <p:cNvPr id="61" name="Rectangle: Rounded Corners 23">
            <a:extLst>
              <a:ext uri="{FF2B5EF4-FFF2-40B4-BE49-F238E27FC236}">
                <a16:creationId xmlns:a16="http://schemas.microsoft.com/office/drawing/2014/main" id="{497144BE-473B-4BEB-A7D8-4E3C55F21E44}"/>
              </a:ext>
            </a:extLst>
          </p:cNvPr>
          <p:cNvSpPr/>
          <p:nvPr/>
        </p:nvSpPr>
        <p:spPr>
          <a:xfrm>
            <a:off x="6729192" y="2833990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 dirty="0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Low</a:t>
            </a:r>
            <a:endParaRPr lang="en-US" sz="1200" kern="0" dirty="0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sp>
        <p:nvSpPr>
          <p:cNvPr id="63" name="Rectangle: Rounded Corners 25">
            <a:extLst>
              <a:ext uri="{FF2B5EF4-FFF2-40B4-BE49-F238E27FC236}">
                <a16:creationId xmlns:a16="http://schemas.microsoft.com/office/drawing/2014/main" id="{F28709C4-A97F-4361-AB00-061E6CDF0F22}"/>
              </a:ext>
            </a:extLst>
          </p:cNvPr>
          <p:cNvSpPr/>
          <p:nvPr/>
        </p:nvSpPr>
        <p:spPr>
          <a:xfrm>
            <a:off x="5461131" y="3203796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 dirty="0">
                <a:solidFill>
                  <a:prstClr val="black">
                    <a:lumMod val="85000"/>
                    <a:lumOff val="15000"/>
                  </a:prstClr>
                </a:solidFill>
              </a:rPr>
              <a:t>WIP</a:t>
            </a:r>
          </a:p>
        </p:txBody>
      </p:sp>
      <p:sp>
        <p:nvSpPr>
          <p:cNvPr id="64" name="Rectangle: Rounded Corners 26">
            <a:extLst>
              <a:ext uri="{FF2B5EF4-FFF2-40B4-BE49-F238E27FC236}">
                <a16:creationId xmlns:a16="http://schemas.microsoft.com/office/drawing/2014/main" id="{E413E375-01D2-421D-A856-FF87114076FA}"/>
              </a:ext>
            </a:extLst>
          </p:cNvPr>
          <p:cNvSpPr/>
          <p:nvPr/>
        </p:nvSpPr>
        <p:spPr>
          <a:xfrm>
            <a:off x="6729192" y="3203796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 dirty="0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Low</a:t>
            </a:r>
            <a:endParaRPr lang="en-US" sz="1200" kern="0" dirty="0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sp>
        <p:nvSpPr>
          <p:cNvPr id="75" name="Graphic 3" descr="Checkmark">
            <a:extLst>
              <a:ext uri="{FF2B5EF4-FFF2-40B4-BE49-F238E27FC236}">
                <a16:creationId xmlns:a16="http://schemas.microsoft.com/office/drawing/2014/main" id="{D63D3523-A25B-4BE7-8B9A-5A45C7D5D402}"/>
              </a:ext>
            </a:extLst>
          </p:cNvPr>
          <p:cNvSpPr/>
          <p:nvPr/>
        </p:nvSpPr>
        <p:spPr>
          <a:xfrm>
            <a:off x="425583" y="1744790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3"/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6" name="Graphic 4" descr="Checkmark">
            <a:extLst>
              <a:ext uri="{FF2B5EF4-FFF2-40B4-BE49-F238E27FC236}">
                <a16:creationId xmlns:a16="http://schemas.microsoft.com/office/drawing/2014/main" id="{E4C028EE-A963-4398-81E5-E802D2DA5A35}"/>
              </a:ext>
            </a:extLst>
          </p:cNvPr>
          <p:cNvSpPr/>
          <p:nvPr/>
        </p:nvSpPr>
        <p:spPr>
          <a:xfrm>
            <a:off x="425583" y="2112967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3"/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7" name="Graphic 5" descr="Checkmark">
            <a:extLst>
              <a:ext uri="{FF2B5EF4-FFF2-40B4-BE49-F238E27FC236}">
                <a16:creationId xmlns:a16="http://schemas.microsoft.com/office/drawing/2014/main" id="{74CEBFA9-E10A-4A01-BC2D-62A7E277129D}"/>
              </a:ext>
            </a:extLst>
          </p:cNvPr>
          <p:cNvSpPr/>
          <p:nvPr/>
        </p:nvSpPr>
        <p:spPr>
          <a:xfrm>
            <a:off x="425583" y="2896776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3"/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8" name="Graphic 6" descr="Checkmark">
            <a:extLst>
              <a:ext uri="{FF2B5EF4-FFF2-40B4-BE49-F238E27FC236}">
                <a16:creationId xmlns:a16="http://schemas.microsoft.com/office/drawing/2014/main" id="{A642DABA-EFF8-4058-996A-20E7D9C33DB1}"/>
              </a:ext>
            </a:extLst>
          </p:cNvPr>
          <p:cNvSpPr/>
          <p:nvPr/>
        </p:nvSpPr>
        <p:spPr>
          <a:xfrm>
            <a:off x="425583" y="3264953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3"/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5" name="Rectangle: Rounded Corners 10">
            <a:extLst>
              <a:ext uri="{FF2B5EF4-FFF2-40B4-BE49-F238E27FC236}">
                <a16:creationId xmlns:a16="http://schemas.microsoft.com/office/drawing/2014/main" id="{D764091E-C2D2-468A-A73B-DB60B887EA62}"/>
              </a:ext>
            </a:extLst>
          </p:cNvPr>
          <p:cNvSpPr/>
          <p:nvPr/>
        </p:nvSpPr>
        <p:spPr>
          <a:xfrm>
            <a:off x="5461131" y="3943050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C1301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algn="ctr" defTabSz="914400">
              <a:defRPr/>
            </a:pPr>
            <a:r>
              <a:rPr lang="en-US" sz="1200" kern="0" dirty="0">
                <a:solidFill>
                  <a:prstClr val="white"/>
                </a:solidFill>
              </a:rPr>
              <a:t>Not started</a:t>
            </a:r>
          </a:p>
        </p:txBody>
      </p:sp>
      <p:sp>
        <p:nvSpPr>
          <p:cNvPr id="86" name="Rectangle: Rounded Corners 11">
            <a:extLst>
              <a:ext uri="{FF2B5EF4-FFF2-40B4-BE49-F238E27FC236}">
                <a16:creationId xmlns:a16="http://schemas.microsoft.com/office/drawing/2014/main" id="{DBDAD6C8-EA4D-41DE-809E-7E5698F64AB8}"/>
              </a:ext>
            </a:extLst>
          </p:cNvPr>
          <p:cNvSpPr/>
          <p:nvPr/>
        </p:nvSpPr>
        <p:spPr>
          <a:xfrm>
            <a:off x="6729192" y="3943050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 dirty="0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High</a:t>
            </a:r>
            <a:endParaRPr lang="en-US" sz="1200" kern="0" dirty="0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sp>
        <p:nvSpPr>
          <p:cNvPr id="88" name="Rectangle: Rounded Corners 13">
            <a:extLst>
              <a:ext uri="{FF2B5EF4-FFF2-40B4-BE49-F238E27FC236}">
                <a16:creationId xmlns:a16="http://schemas.microsoft.com/office/drawing/2014/main" id="{E415017B-CFE6-4C23-8D29-5128C86E4DB7}"/>
              </a:ext>
            </a:extLst>
          </p:cNvPr>
          <p:cNvSpPr/>
          <p:nvPr/>
        </p:nvSpPr>
        <p:spPr>
          <a:xfrm>
            <a:off x="5461131" y="4322089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C1301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algn="ctr" defTabSz="914400">
              <a:defRPr/>
            </a:pPr>
            <a:r>
              <a:rPr lang="en-US" sz="1200" kern="0" dirty="0">
                <a:solidFill>
                  <a:prstClr val="white"/>
                </a:solidFill>
              </a:rPr>
              <a:t>Not started</a:t>
            </a:r>
          </a:p>
        </p:txBody>
      </p:sp>
      <p:sp>
        <p:nvSpPr>
          <p:cNvPr id="89" name="Rectangle: Rounded Corners 14">
            <a:extLst>
              <a:ext uri="{FF2B5EF4-FFF2-40B4-BE49-F238E27FC236}">
                <a16:creationId xmlns:a16="http://schemas.microsoft.com/office/drawing/2014/main" id="{C9A2C356-86EB-4E0D-AC31-2CF89823DAD6}"/>
              </a:ext>
            </a:extLst>
          </p:cNvPr>
          <p:cNvSpPr/>
          <p:nvPr/>
        </p:nvSpPr>
        <p:spPr>
          <a:xfrm>
            <a:off x="6729192" y="4322089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 dirty="0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High</a:t>
            </a:r>
            <a:endParaRPr lang="en-US" sz="1200" kern="0" dirty="0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sp>
        <p:nvSpPr>
          <p:cNvPr id="94" name="Rectangle: Rounded Corners 19">
            <a:extLst>
              <a:ext uri="{FF2B5EF4-FFF2-40B4-BE49-F238E27FC236}">
                <a16:creationId xmlns:a16="http://schemas.microsoft.com/office/drawing/2014/main" id="{C2430B2B-A561-4A66-9DAD-308D29EB770F}"/>
              </a:ext>
            </a:extLst>
          </p:cNvPr>
          <p:cNvSpPr/>
          <p:nvPr/>
        </p:nvSpPr>
        <p:spPr>
          <a:xfrm>
            <a:off x="5461131" y="5061695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C1301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 dirty="0">
                <a:solidFill>
                  <a:prstClr val="white"/>
                </a:solidFill>
              </a:rPr>
              <a:t>Not started</a:t>
            </a:r>
          </a:p>
        </p:txBody>
      </p:sp>
      <p:sp>
        <p:nvSpPr>
          <p:cNvPr id="95" name="Rectangle: Rounded Corners 20">
            <a:extLst>
              <a:ext uri="{FF2B5EF4-FFF2-40B4-BE49-F238E27FC236}">
                <a16:creationId xmlns:a16="http://schemas.microsoft.com/office/drawing/2014/main" id="{69B9705E-76FE-48B8-AE75-BC63F5A0D96A}"/>
              </a:ext>
            </a:extLst>
          </p:cNvPr>
          <p:cNvSpPr/>
          <p:nvPr/>
        </p:nvSpPr>
        <p:spPr>
          <a:xfrm>
            <a:off x="6729192" y="5061695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ea typeface="+mn-ea"/>
                <a:cs typeface="+mn-cs"/>
              </a:rPr>
              <a:t>High</a:t>
            </a:r>
          </a:p>
        </p:txBody>
      </p:sp>
      <p:sp>
        <p:nvSpPr>
          <p:cNvPr id="97" name="Rectangle: Rounded Corners 22">
            <a:extLst>
              <a:ext uri="{FF2B5EF4-FFF2-40B4-BE49-F238E27FC236}">
                <a16:creationId xmlns:a16="http://schemas.microsoft.com/office/drawing/2014/main" id="{F8E14D53-84FD-40DB-9DD1-400E377FA728}"/>
              </a:ext>
            </a:extLst>
          </p:cNvPr>
          <p:cNvSpPr/>
          <p:nvPr/>
        </p:nvSpPr>
        <p:spPr>
          <a:xfrm>
            <a:off x="5461131" y="5440734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C1301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 dirty="0">
                <a:solidFill>
                  <a:prstClr val="white"/>
                </a:solidFill>
              </a:rPr>
              <a:t>Not started</a:t>
            </a:r>
          </a:p>
        </p:txBody>
      </p:sp>
      <p:sp>
        <p:nvSpPr>
          <p:cNvPr id="98" name="Rectangle: Rounded Corners 23">
            <a:extLst>
              <a:ext uri="{FF2B5EF4-FFF2-40B4-BE49-F238E27FC236}">
                <a16:creationId xmlns:a16="http://schemas.microsoft.com/office/drawing/2014/main" id="{497144BE-473B-4BEB-A7D8-4E3C55F21E44}"/>
              </a:ext>
            </a:extLst>
          </p:cNvPr>
          <p:cNvSpPr/>
          <p:nvPr/>
        </p:nvSpPr>
        <p:spPr>
          <a:xfrm>
            <a:off x="6729192" y="5440734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algn="ctr" defTabSz="914400">
              <a:defRPr/>
            </a:pPr>
            <a:r>
              <a:rPr lang="en-US" sz="1200" kern="0" dirty="0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High</a:t>
            </a:r>
            <a:endParaRPr lang="en-US" sz="1200" kern="0" dirty="0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sp>
        <p:nvSpPr>
          <p:cNvPr id="100" name="Rectangle: Rounded Corners 25">
            <a:extLst>
              <a:ext uri="{FF2B5EF4-FFF2-40B4-BE49-F238E27FC236}">
                <a16:creationId xmlns:a16="http://schemas.microsoft.com/office/drawing/2014/main" id="{F28709C4-A97F-4361-AB00-061E6CDF0F22}"/>
              </a:ext>
            </a:extLst>
          </p:cNvPr>
          <p:cNvSpPr/>
          <p:nvPr/>
        </p:nvSpPr>
        <p:spPr>
          <a:xfrm>
            <a:off x="5461131" y="5819778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C1301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 dirty="0">
                <a:solidFill>
                  <a:prstClr val="white"/>
                </a:solidFill>
              </a:rPr>
              <a:t>Not started</a:t>
            </a:r>
          </a:p>
        </p:txBody>
      </p:sp>
      <p:sp>
        <p:nvSpPr>
          <p:cNvPr id="101" name="Rectangle: Rounded Corners 26">
            <a:extLst>
              <a:ext uri="{FF2B5EF4-FFF2-40B4-BE49-F238E27FC236}">
                <a16:creationId xmlns:a16="http://schemas.microsoft.com/office/drawing/2014/main" id="{E413E375-01D2-421D-A856-FF87114076FA}"/>
              </a:ext>
            </a:extLst>
          </p:cNvPr>
          <p:cNvSpPr/>
          <p:nvPr/>
        </p:nvSpPr>
        <p:spPr>
          <a:xfrm>
            <a:off x="6729192" y="5819778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algn="ctr" defTabSz="914400">
              <a:defRPr/>
            </a:pPr>
            <a:r>
              <a:rPr lang="en-US" sz="1200" kern="0" dirty="0">
                <a:solidFill>
                  <a:prstClr val="black">
                    <a:lumMod val="85000"/>
                    <a:lumOff val="15000"/>
                  </a:prstClr>
                </a:solidFill>
              </a:rPr>
              <a:t>Medium</a:t>
            </a:r>
          </a:p>
        </p:txBody>
      </p:sp>
      <p:sp>
        <p:nvSpPr>
          <p:cNvPr id="102" name="Graphic 3" descr="Checkmark">
            <a:extLst>
              <a:ext uri="{FF2B5EF4-FFF2-40B4-BE49-F238E27FC236}">
                <a16:creationId xmlns:a16="http://schemas.microsoft.com/office/drawing/2014/main" id="{D63D3523-A25B-4BE7-8B9A-5A45C7D5D402}"/>
              </a:ext>
            </a:extLst>
          </p:cNvPr>
          <p:cNvSpPr/>
          <p:nvPr/>
        </p:nvSpPr>
        <p:spPr>
          <a:xfrm>
            <a:off x="425583" y="3949415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3" name="Graphic 4" descr="Checkmark">
            <a:extLst>
              <a:ext uri="{FF2B5EF4-FFF2-40B4-BE49-F238E27FC236}">
                <a16:creationId xmlns:a16="http://schemas.microsoft.com/office/drawing/2014/main" id="{E4C028EE-A963-4398-81E5-E802D2DA5A35}"/>
              </a:ext>
            </a:extLst>
          </p:cNvPr>
          <p:cNvSpPr/>
          <p:nvPr/>
        </p:nvSpPr>
        <p:spPr>
          <a:xfrm>
            <a:off x="425583" y="4317592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5" name="Graphic 6" descr="Checkmark">
            <a:extLst>
              <a:ext uri="{FF2B5EF4-FFF2-40B4-BE49-F238E27FC236}">
                <a16:creationId xmlns:a16="http://schemas.microsoft.com/office/drawing/2014/main" id="{A642DABA-EFF8-4058-996A-20E7D9C33DB1}"/>
              </a:ext>
            </a:extLst>
          </p:cNvPr>
          <p:cNvSpPr/>
          <p:nvPr/>
        </p:nvSpPr>
        <p:spPr>
          <a:xfrm>
            <a:off x="425583" y="5137071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6" name="Graphic 7" descr="Checkmark">
            <a:extLst>
              <a:ext uri="{FF2B5EF4-FFF2-40B4-BE49-F238E27FC236}">
                <a16:creationId xmlns:a16="http://schemas.microsoft.com/office/drawing/2014/main" id="{D0FB9DBC-BC27-4AB4-8F85-F92EF099072D}"/>
              </a:ext>
            </a:extLst>
          </p:cNvPr>
          <p:cNvSpPr/>
          <p:nvPr/>
        </p:nvSpPr>
        <p:spPr>
          <a:xfrm>
            <a:off x="425583" y="5505248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7" name="Graphic 8" descr="Checkmark">
            <a:extLst>
              <a:ext uri="{FF2B5EF4-FFF2-40B4-BE49-F238E27FC236}">
                <a16:creationId xmlns:a16="http://schemas.microsoft.com/office/drawing/2014/main" id="{9441916A-F2E6-4E26-9340-83E49F1C76FD}"/>
              </a:ext>
            </a:extLst>
          </p:cNvPr>
          <p:cNvSpPr/>
          <p:nvPr/>
        </p:nvSpPr>
        <p:spPr>
          <a:xfrm>
            <a:off x="425583" y="5873423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50432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3B3D9-5974-6DF1-41E8-FE8BB3E281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/Latest Progress </a:t>
            </a:r>
            <a:r>
              <a:rPr lang="en-US" dirty="0" smtClean="0"/>
              <a:t>Summary (Last 2 Weeks)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F66A7C-FACA-CDF4-CE52-E253CDBB6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828501-58BA-692E-22E4-583AADE806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grpSp>
        <p:nvGrpSpPr>
          <p:cNvPr id="89" name="Group 88"/>
          <p:cNvGrpSpPr/>
          <p:nvPr/>
        </p:nvGrpSpPr>
        <p:grpSpPr>
          <a:xfrm>
            <a:off x="597814" y="1200329"/>
            <a:ext cx="10949958" cy="4646874"/>
            <a:chOff x="597814" y="1403928"/>
            <a:chExt cx="10847329" cy="4308594"/>
          </a:xfrm>
        </p:grpSpPr>
        <p:cxnSp>
          <p:nvCxnSpPr>
            <p:cNvPr id="53" name="Straight Connector 52"/>
            <p:cNvCxnSpPr/>
            <p:nvPr/>
          </p:nvCxnSpPr>
          <p:spPr>
            <a:xfrm>
              <a:off x="2333399" y="1833882"/>
              <a:ext cx="8619913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/>
          </p:nvCxnSpPr>
          <p:spPr>
            <a:xfrm flipV="1">
              <a:off x="2333399" y="2847031"/>
              <a:ext cx="8619913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/>
          </p:nvCxnSpPr>
          <p:spPr>
            <a:xfrm flipV="1">
              <a:off x="2188321" y="4706285"/>
              <a:ext cx="8764991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/>
          </p:nvCxnSpPr>
          <p:spPr>
            <a:xfrm flipV="1">
              <a:off x="2188321" y="5686592"/>
              <a:ext cx="8764991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Rectangle 56">
              <a:hlinkClick r:id="rId2" action="ppaction://hlinksldjump"/>
            </p:cNvPr>
            <p:cNvSpPr/>
            <p:nvPr/>
          </p:nvSpPr>
          <p:spPr bwMode="auto">
            <a:xfrm>
              <a:off x="597814" y="1833882"/>
              <a:ext cx="1748589" cy="1020406"/>
            </a:xfrm>
            <a:prstGeom prst="rect">
              <a:avLst/>
            </a:prstGeom>
            <a:solidFill>
              <a:srgbClr val="002B53"/>
            </a:solidFill>
            <a:ln>
              <a:noFill/>
            </a:ln>
          </p:spPr>
          <p:txBody>
            <a:bodyPr vert="horz" wrap="square" lIns="42863" tIns="21431" rIns="42863" bIns="21431" numCol="1" rtlCol="0" anchor="b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200" kern="0" dirty="0" smtClean="0">
                <a:solidFill>
                  <a:schemeClr val="bg1"/>
                </a:solidFill>
              </a:endParaRPr>
            </a:p>
            <a:p>
              <a:pPr algn="ctr"/>
              <a:endParaRPr lang="en-US" sz="1200" b="1" kern="0" dirty="0" smtClean="0">
                <a:solidFill>
                  <a:schemeClr val="bg1"/>
                </a:solidFill>
              </a:endParaRPr>
            </a:p>
            <a:p>
              <a:pPr algn="ctr"/>
              <a:endParaRPr lang="en-US" sz="1200" b="1" kern="0" dirty="0">
                <a:solidFill>
                  <a:schemeClr val="bg1"/>
                </a:solidFill>
              </a:endParaRPr>
            </a:p>
            <a:p>
              <a:pPr algn="ctr"/>
              <a:r>
                <a:rPr lang="en-US" sz="1200" b="1" kern="0" dirty="0" smtClean="0">
                  <a:solidFill>
                    <a:schemeClr val="bg1"/>
                  </a:solidFill>
                </a:rPr>
                <a:t>Tables Data Validation </a:t>
              </a:r>
              <a:endParaRPr lang="en-US" sz="1200" kern="0" dirty="0">
                <a:solidFill>
                  <a:schemeClr val="bg1"/>
                </a:solidFill>
              </a:endParaRPr>
            </a:p>
          </p:txBody>
        </p:sp>
        <p:sp>
          <p:nvSpPr>
            <p:cNvPr id="58" name="Rectangle 57"/>
            <p:cNvSpPr/>
            <p:nvPr/>
          </p:nvSpPr>
          <p:spPr bwMode="auto">
            <a:xfrm>
              <a:off x="597814" y="4692116"/>
              <a:ext cx="1748589" cy="1020406"/>
            </a:xfrm>
            <a:prstGeom prst="rect">
              <a:avLst/>
            </a:prstGeom>
            <a:solidFill>
              <a:srgbClr val="002B53">
                <a:lumMod val="75000"/>
                <a:lumOff val="25000"/>
              </a:srgbClr>
            </a:solidFill>
            <a:ln>
              <a:noFill/>
            </a:ln>
          </p:spPr>
          <p:txBody>
            <a:bodyPr vert="horz" wrap="square" lIns="42863" tIns="21431" rIns="42863" bIns="21431" numCol="1" rtlCol="0" anchor="b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200" b="1" kern="0" dirty="0" smtClean="0">
                <a:solidFill>
                  <a:schemeClr val="bg1"/>
                </a:solidFill>
              </a:endParaRPr>
            </a:p>
            <a:p>
              <a:pPr algn="ctr"/>
              <a:endParaRPr lang="en-US" sz="1200" b="1" kern="0" dirty="0">
                <a:solidFill>
                  <a:schemeClr val="bg1"/>
                </a:solidFill>
              </a:endParaRPr>
            </a:p>
            <a:p>
              <a:pPr algn="ctr"/>
              <a:endParaRPr lang="en-US" sz="1200" b="1" kern="0" dirty="0" smtClean="0">
                <a:solidFill>
                  <a:schemeClr val="bg1"/>
                </a:solidFill>
              </a:endParaRPr>
            </a:p>
            <a:p>
              <a:pPr algn="ctr"/>
              <a:endParaRPr lang="en-US" sz="1200" b="1" kern="0" dirty="0">
                <a:solidFill>
                  <a:schemeClr val="bg1"/>
                </a:solidFill>
              </a:endParaRPr>
            </a:p>
            <a:p>
              <a:pPr algn="ctr"/>
              <a:endParaRPr lang="en-US" sz="1200" b="1" kern="0" dirty="0" smtClean="0">
                <a:solidFill>
                  <a:schemeClr val="bg1"/>
                </a:solidFill>
              </a:endParaRPr>
            </a:p>
            <a:p>
              <a:pPr algn="ctr"/>
              <a:endParaRPr lang="en-US" sz="1200" b="1" kern="0" dirty="0">
                <a:solidFill>
                  <a:schemeClr val="bg1"/>
                </a:solidFill>
              </a:endParaRPr>
            </a:p>
            <a:p>
              <a:pPr algn="ctr"/>
              <a:endParaRPr lang="en-US" sz="1200" b="1" kern="0" dirty="0" smtClean="0">
                <a:solidFill>
                  <a:schemeClr val="bg1"/>
                </a:solidFill>
              </a:endParaRPr>
            </a:p>
            <a:p>
              <a:pPr algn="ctr"/>
              <a:endParaRPr lang="en-US" sz="1200" b="1" kern="0" dirty="0">
                <a:solidFill>
                  <a:schemeClr val="bg1"/>
                </a:solidFill>
              </a:endParaRPr>
            </a:p>
            <a:p>
              <a:pPr algn="ctr"/>
              <a:endParaRPr lang="en-US" sz="1200" b="1" kern="0" dirty="0" smtClean="0">
                <a:solidFill>
                  <a:schemeClr val="bg1"/>
                </a:solidFill>
              </a:endParaRPr>
            </a:p>
            <a:p>
              <a:pPr algn="ctr"/>
              <a:endParaRPr lang="en-US" sz="1200" b="1" kern="0" dirty="0">
                <a:solidFill>
                  <a:schemeClr val="bg1"/>
                </a:solidFill>
              </a:endParaRPr>
            </a:p>
            <a:p>
              <a:pPr algn="ctr"/>
              <a:endParaRPr lang="en-US" sz="1200" b="1" kern="0" dirty="0" smtClean="0">
                <a:solidFill>
                  <a:schemeClr val="bg1"/>
                </a:solidFill>
              </a:endParaRPr>
            </a:p>
            <a:p>
              <a:pPr algn="ctr"/>
              <a:r>
                <a:rPr lang="en-US" sz="1200" b="1" kern="0" dirty="0" smtClean="0">
                  <a:solidFill>
                    <a:schemeClr val="bg1"/>
                  </a:solidFill>
                </a:rPr>
                <a:t>BI Design/Wireframe</a:t>
              </a:r>
              <a:endParaRPr lang="en-US" sz="1200" kern="0" dirty="0">
                <a:solidFill>
                  <a:schemeClr val="bg1"/>
                </a:solidFill>
              </a:endParaRPr>
            </a:p>
          </p:txBody>
        </p:sp>
        <p:sp>
          <p:nvSpPr>
            <p:cNvPr id="59" name="Rectangle 58"/>
            <p:cNvSpPr/>
            <p:nvPr/>
          </p:nvSpPr>
          <p:spPr bwMode="auto">
            <a:xfrm>
              <a:off x="610204" y="1403928"/>
              <a:ext cx="1748589" cy="393178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42863" tIns="21431" rIns="42863" bIns="21431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ngoing Activities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Rectangle 59"/>
            <p:cNvSpPr/>
            <p:nvPr/>
          </p:nvSpPr>
          <p:spPr bwMode="auto">
            <a:xfrm>
              <a:off x="3624855" y="1403928"/>
              <a:ext cx="2134056" cy="393178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42863" tIns="21431" rIns="42863" bIns="21431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IP Progress Updates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Rectangle 60"/>
            <p:cNvSpPr/>
            <p:nvPr/>
          </p:nvSpPr>
          <p:spPr bwMode="auto">
            <a:xfrm>
              <a:off x="7583055" y="1403928"/>
              <a:ext cx="2973601" cy="393178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42863" tIns="21431" rIns="42863" bIns="21431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hallenges, Risks &amp; Questions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Rectangle 61"/>
            <p:cNvSpPr/>
            <p:nvPr/>
          </p:nvSpPr>
          <p:spPr bwMode="auto">
            <a:xfrm>
              <a:off x="2549246" y="1985002"/>
              <a:ext cx="4377027" cy="742540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42863" tIns="21431" rIns="42863" bIns="21431" numCol="1" rtlCol="0" anchor="ctr" anchorCtr="0" compatLnSpc="1">
              <a:prstTxWarp prst="textNoShape">
                <a:avLst/>
              </a:prstTxWarp>
            </a:bodyPr>
            <a:lstStyle/>
            <a:p>
              <a:pPr marL="171450" lvl="0" indent="-171450">
                <a:buFont typeface="Wingdings" panose="05000000000000000000" pitchFamily="2" charset="2"/>
                <a:buChar char="ü"/>
                <a:defRPr/>
              </a:pPr>
              <a:r>
                <a:rPr lang="en-US" sz="10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ngoing Verification of field level data </a:t>
              </a:r>
              <a:r>
                <a:rPr lang="en-US" sz="10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gainst defined </a:t>
              </a:r>
              <a:r>
                <a:rPr lang="en-US" sz="10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ules/criteria</a:t>
              </a:r>
            </a:p>
            <a:p>
              <a:pPr marL="171450" lvl="0" indent="-171450">
                <a:buFont typeface="Wingdings" panose="05000000000000000000" pitchFamily="2" charset="2"/>
                <a:buChar char="ü"/>
                <a:defRPr/>
              </a:pPr>
              <a:r>
                <a:rPr lang="en-US" sz="10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dentify errors or inconsistencies and </a:t>
              </a:r>
              <a:r>
                <a:rPr lang="en-US" sz="10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termine how </a:t>
              </a:r>
              <a:r>
                <a:rPr lang="en-US" sz="10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handle </a:t>
              </a:r>
              <a:r>
                <a:rPr lang="en-US" sz="10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m</a:t>
              </a:r>
            </a:p>
            <a:p>
              <a:pPr marL="171450" lvl="0" indent="-171450">
                <a:buFont typeface="Wingdings" panose="05000000000000000000" pitchFamily="2" charset="2"/>
                <a:buChar char="ü"/>
                <a:defRPr/>
              </a:pPr>
              <a:r>
                <a:rPr lang="en-US" sz="10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hare findings with the organization </a:t>
              </a:r>
              <a:r>
                <a:rPr lang="en-US" sz="10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 review &amp; alignment</a:t>
              </a:r>
            </a:p>
            <a:p>
              <a:pPr marL="171450" lvl="0" indent="-171450">
                <a:buFont typeface="Wingdings" panose="05000000000000000000" pitchFamily="2" charset="2"/>
                <a:buChar char="ü"/>
                <a:defRPr/>
              </a:pPr>
              <a:r>
                <a:rPr lang="en-US" sz="10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cument the validation process and </a:t>
              </a:r>
              <a:r>
                <a:rPr lang="en-US" sz="10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sults for </a:t>
              </a:r>
              <a:r>
                <a:rPr lang="en-US" sz="10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ext stage of ETL</a:t>
              </a:r>
              <a:endParaRPr lang="en-US" sz="105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 bwMode="auto">
            <a:xfrm>
              <a:off x="2549247" y="4706285"/>
              <a:ext cx="4377024" cy="1006237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42863" tIns="21431" rIns="42863" bIns="21431" numCol="1" rtlCol="0" anchor="ctr" anchorCtr="0" compatLnSpc="1">
              <a:prstTxWarp prst="textNoShape">
                <a:avLst/>
              </a:prstTxWarp>
            </a:bodyPr>
            <a:lstStyle/>
            <a:p>
              <a:pPr marL="171450" lvl="0" indent="-171450">
                <a:buFont typeface="Wingdings" panose="05000000000000000000" pitchFamily="2" charset="2"/>
                <a:buChar char="ü"/>
                <a:defRPr/>
              </a:pPr>
              <a:r>
                <a:rPr lang="en-US" sz="1050" dirty="0" smtClean="0"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terating </a:t>
              </a:r>
              <a:r>
                <a:rPr lang="en-US" sz="1050" dirty="0" smtClean="0"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n the </a:t>
              </a:r>
              <a:r>
                <a:rPr lang="en-US" sz="1050" dirty="0" smtClean="0"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shboard Wireframe based </a:t>
              </a:r>
              <a:r>
                <a:rPr lang="en-US" sz="1050" dirty="0" smtClean="0"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n Business Feedback</a:t>
              </a:r>
            </a:p>
            <a:p>
              <a:pPr marL="171450" lvl="0" indent="-171450">
                <a:buFont typeface="Wingdings" panose="05000000000000000000" pitchFamily="2" charset="2"/>
                <a:buChar char="ü"/>
                <a:defRPr/>
              </a:pPr>
              <a:r>
                <a:rPr lang="en-US" sz="1050" dirty="0" smtClean="0"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textualizing the Wireframe Based on the Data Mapping </a:t>
              </a:r>
              <a:r>
                <a:rPr lang="en-US" sz="1050" dirty="0" smtClean="0"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dings</a:t>
              </a:r>
              <a:endParaRPr lang="en-US" sz="105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50" lvl="0" indent="-171450">
                <a:buFont typeface="Wingdings" panose="05000000000000000000" pitchFamily="2" charset="2"/>
                <a:buChar char="ü"/>
                <a:defRPr/>
              </a:pPr>
              <a:r>
                <a:rPr lang="en-US" sz="1050" dirty="0" smtClean="0"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ngoing Alignment on Finalizing the Wireframe with Actual Data</a:t>
              </a:r>
            </a:p>
          </p:txBody>
        </p:sp>
        <p:sp>
          <p:nvSpPr>
            <p:cNvPr id="64" name="Rectangle 63"/>
            <p:cNvSpPr/>
            <p:nvPr/>
          </p:nvSpPr>
          <p:spPr bwMode="auto">
            <a:xfrm>
              <a:off x="7168007" y="2003799"/>
              <a:ext cx="3664438" cy="724215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42863" tIns="21431" rIns="42863" bIns="21431" numCol="1" rtlCol="0" anchor="ctr" anchorCtr="0" compatLnSpc="1">
              <a:prstTxWarp prst="textNoShape">
                <a:avLst/>
              </a:prstTxWarp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v"/>
                <a:tabLst/>
                <a:defRPr/>
              </a:pPr>
              <a:r>
                <a:rPr kumimoji="0" lang="en-US" sz="105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Arial"/>
                </a:rPr>
                <a:t>Data validation is manual</a:t>
              </a:r>
              <a:r>
                <a:rPr kumimoji="0" lang="en-US" sz="1050" i="0" u="none" strike="noStrike" kern="1200" cap="none" spc="0" normalizeH="0" noProof="0" dirty="0" smtClean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Arial"/>
                </a:rPr>
                <a:t> leveraging SQL in AWS </a:t>
              </a:r>
              <a:r>
                <a:rPr kumimoji="0" lang="en-US" sz="1050" i="0" u="none" strike="noStrike" kern="1200" cap="none" spc="0" normalizeH="0" noProof="0" dirty="0" err="1" smtClean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Arial"/>
                </a:rPr>
                <a:t>Athen</a:t>
              </a:r>
              <a:r>
                <a:rPr lang="en-US" sz="10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</a:rPr>
                <a:t>a</a:t>
              </a:r>
              <a:endParaRPr kumimoji="0" lang="en-US" sz="1050" i="0" u="none" strike="noStrike" kern="1200" cap="none" spc="0" normalizeH="0" noProof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</a:endParaRPr>
            </a:p>
            <a:p>
              <a:pPr marL="171450" lvl="0" indent="-171450" defTabSz="914400">
                <a:buFont typeface="Wingdings" panose="05000000000000000000" pitchFamily="2" charset="2"/>
                <a:buChar char="v"/>
                <a:defRPr/>
              </a:pPr>
              <a:r>
                <a:rPr lang="en-US" sz="1050" baseline="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</a:rPr>
                <a:t>Limited</a:t>
              </a:r>
              <a:r>
                <a:rPr lang="en-US" sz="10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</a:rPr>
                <a:t> access </a:t>
              </a:r>
              <a:r>
                <a:rPr lang="en-US" sz="10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</a:rPr>
                <a:t>to all CIAM DB in AICOE </a:t>
              </a:r>
              <a:r>
                <a:rPr lang="en-US" sz="10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</a:rPr>
                <a:t>Sandbox</a:t>
              </a:r>
            </a:p>
            <a:p>
              <a:pPr marL="171450" lvl="0" indent="-171450" defTabSz="914400">
                <a:buFont typeface="Wingdings" panose="05000000000000000000" pitchFamily="2" charset="2"/>
                <a:buChar char="v"/>
                <a:defRPr/>
              </a:pPr>
              <a:r>
                <a:rPr kumimoji="0" lang="en-US" sz="105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Arial"/>
                </a:rPr>
                <a:t>Limited access to the MS Excel for Validation</a:t>
              </a:r>
            </a:p>
            <a:p>
              <a:pPr marL="171450" lvl="0" indent="-171450" defTabSz="914400">
                <a:buFont typeface="Wingdings" panose="05000000000000000000" pitchFamily="2" charset="2"/>
                <a:buChar char="v"/>
                <a:defRPr/>
              </a:pPr>
              <a:r>
                <a:rPr lang="en-US" sz="10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</a:rPr>
                <a:t>Awaited access to AWS Insights for Validation</a:t>
              </a:r>
              <a:endPara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65" name="Rectangle 64"/>
            <p:cNvSpPr/>
            <p:nvPr/>
          </p:nvSpPr>
          <p:spPr bwMode="auto">
            <a:xfrm>
              <a:off x="7127594" y="4706285"/>
              <a:ext cx="3704850" cy="980307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42863" tIns="21431" rIns="42863" bIns="21431" numCol="1" rtlCol="0" anchor="ctr" anchorCtr="0" compatLnSpc="1">
              <a:prstTxWarp prst="textNoShape">
                <a:avLst/>
              </a:prstTxWarp>
            </a:bodyPr>
            <a:lstStyle/>
            <a:p>
              <a:pPr marL="171450" lvl="0" indent="-171450" defTabSz="914400">
                <a:buFont typeface="Wingdings" panose="05000000000000000000" pitchFamily="2" charset="2"/>
                <a:buChar char="v"/>
                <a:defRPr/>
              </a:pPr>
              <a:r>
                <a:rPr lang="en-US" sz="10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</a:rPr>
                <a:t>Awaited </a:t>
              </a:r>
              <a:r>
                <a:rPr lang="en-US" sz="10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</a:rPr>
                <a:t>access to AWS Insights for Mapping &amp; Transformation Assessment</a:t>
              </a:r>
            </a:p>
            <a:p>
              <a:pPr marL="171450" lvl="0" indent="-171450" defTabSz="914400">
                <a:buFont typeface="Wingdings" panose="05000000000000000000" pitchFamily="2" charset="2"/>
                <a:buChar char="v"/>
                <a:defRPr/>
              </a:pPr>
              <a:r>
                <a:rPr lang="en-US" sz="10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</a:rPr>
                <a:t>Awaited access for Tableau BI Solution</a:t>
              </a:r>
            </a:p>
          </p:txBody>
        </p:sp>
        <p:pic>
          <p:nvPicPr>
            <p:cNvPr id="66" name="Picture 6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8" t="20403" r="17475" b="20606"/>
            <a:stretch/>
          </p:blipFill>
          <p:spPr>
            <a:xfrm>
              <a:off x="1180294" y="4781507"/>
              <a:ext cx="589851" cy="610169"/>
            </a:xfrm>
            <a:prstGeom prst="rect">
              <a:avLst/>
            </a:prstGeom>
          </p:spPr>
        </p:pic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DA020955-B9FF-224C-BFF2-9B56B13D84C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178920" y="1975826"/>
              <a:ext cx="426931" cy="483986"/>
              <a:chOff x="4154488" y="4235450"/>
              <a:chExt cx="1074738" cy="1074738"/>
            </a:xfrm>
            <a:solidFill>
              <a:schemeClr val="bg1"/>
            </a:solidFill>
          </p:grpSpPr>
          <p:sp>
            <p:nvSpPr>
              <p:cNvPr id="68" name="Freeform 18">
                <a:extLst>
                  <a:ext uri="{FF2B5EF4-FFF2-40B4-BE49-F238E27FC236}">
                    <a16:creationId xmlns:a16="http://schemas.microsoft.com/office/drawing/2014/main" id="{BD4978F6-BA6D-D74D-9C89-2AAE2E521B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4488" y="4449763"/>
                <a:ext cx="466725" cy="860425"/>
              </a:xfrm>
              <a:custGeom>
                <a:avLst/>
                <a:gdLst>
                  <a:gd name="T0" fmla="*/ 1333 w 3467"/>
                  <a:gd name="T1" fmla="*/ 5768 h 6400"/>
                  <a:gd name="T2" fmla="*/ 1333 w 3467"/>
                  <a:gd name="T3" fmla="*/ 6400 h 6400"/>
                  <a:gd name="T4" fmla="*/ 1600 w 3467"/>
                  <a:gd name="T5" fmla="*/ 6400 h 6400"/>
                  <a:gd name="T6" fmla="*/ 1600 w 3467"/>
                  <a:gd name="T7" fmla="*/ 5733 h 6400"/>
                  <a:gd name="T8" fmla="*/ 1583 w 3467"/>
                  <a:gd name="T9" fmla="*/ 5669 h 6400"/>
                  <a:gd name="T10" fmla="*/ 384 w 3467"/>
                  <a:gd name="T11" fmla="*/ 3510 h 6400"/>
                  <a:gd name="T12" fmla="*/ 267 w 3467"/>
                  <a:gd name="T13" fmla="*/ 3057 h 6400"/>
                  <a:gd name="T14" fmla="*/ 267 w 3467"/>
                  <a:gd name="T15" fmla="*/ 534 h 6400"/>
                  <a:gd name="T16" fmla="*/ 533 w 3467"/>
                  <a:gd name="T17" fmla="*/ 267 h 6400"/>
                  <a:gd name="T18" fmla="*/ 800 w 3467"/>
                  <a:gd name="T19" fmla="*/ 534 h 6400"/>
                  <a:gd name="T20" fmla="*/ 800 w 3467"/>
                  <a:gd name="T21" fmla="*/ 2447 h 6400"/>
                  <a:gd name="T22" fmla="*/ 809 w 3467"/>
                  <a:gd name="T23" fmla="*/ 3118 h 6400"/>
                  <a:gd name="T24" fmla="*/ 1901 w 3467"/>
                  <a:gd name="T25" fmla="*/ 4320 h 6400"/>
                  <a:gd name="T26" fmla="*/ 2099 w 3467"/>
                  <a:gd name="T27" fmla="*/ 4141 h 6400"/>
                  <a:gd name="T28" fmla="*/ 1006 w 3467"/>
                  <a:gd name="T29" fmla="*/ 2939 h 6400"/>
                  <a:gd name="T30" fmla="*/ 1014 w 3467"/>
                  <a:gd name="T31" fmla="*/ 2604 h 6400"/>
                  <a:gd name="T32" fmla="*/ 1192 w 3467"/>
                  <a:gd name="T33" fmla="*/ 2534 h 6400"/>
                  <a:gd name="T34" fmla="*/ 1365 w 3467"/>
                  <a:gd name="T35" fmla="*/ 2614 h 6400"/>
                  <a:gd name="T36" fmla="*/ 2301 w 3467"/>
                  <a:gd name="T37" fmla="*/ 3654 h 6400"/>
                  <a:gd name="T38" fmla="*/ 2341 w 3467"/>
                  <a:gd name="T39" fmla="*/ 3684 h 6400"/>
                  <a:gd name="T40" fmla="*/ 3200 w 3467"/>
                  <a:gd name="T41" fmla="*/ 5164 h 6400"/>
                  <a:gd name="T42" fmla="*/ 3200 w 3467"/>
                  <a:gd name="T43" fmla="*/ 6400 h 6400"/>
                  <a:gd name="T44" fmla="*/ 3467 w 3467"/>
                  <a:gd name="T45" fmla="*/ 6400 h 6400"/>
                  <a:gd name="T46" fmla="*/ 3467 w 3467"/>
                  <a:gd name="T47" fmla="*/ 5067 h 6400"/>
                  <a:gd name="T48" fmla="*/ 3463 w 3467"/>
                  <a:gd name="T49" fmla="*/ 5067 h 6400"/>
                  <a:gd name="T50" fmla="*/ 2485 w 3467"/>
                  <a:gd name="T51" fmla="*/ 3459 h 6400"/>
                  <a:gd name="T52" fmla="*/ 1564 w 3467"/>
                  <a:gd name="T53" fmla="*/ 2435 h 6400"/>
                  <a:gd name="T54" fmla="*/ 1199 w 3467"/>
                  <a:gd name="T55" fmla="*/ 2267 h 6400"/>
                  <a:gd name="T56" fmla="*/ 1067 w 3467"/>
                  <a:gd name="T57" fmla="*/ 2282 h 6400"/>
                  <a:gd name="T58" fmla="*/ 1067 w 3467"/>
                  <a:gd name="T59" fmla="*/ 534 h 6400"/>
                  <a:gd name="T60" fmla="*/ 533 w 3467"/>
                  <a:gd name="T61" fmla="*/ 0 h 6400"/>
                  <a:gd name="T62" fmla="*/ 0 w 3467"/>
                  <a:gd name="T63" fmla="*/ 534 h 6400"/>
                  <a:gd name="T64" fmla="*/ 0 w 3467"/>
                  <a:gd name="T65" fmla="*/ 3057 h 6400"/>
                  <a:gd name="T66" fmla="*/ 151 w 3467"/>
                  <a:gd name="T67" fmla="*/ 3640 h 6400"/>
                  <a:gd name="T68" fmla="*/ 1333 w 3467"/>
                  <a:gd name="T69" fmla="*/ 5768 h 6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467" h="6400">
                    <a:moveTo>
                      <a:pt x="1333" y="5768"/>
                    </a:moveTo>
                    <a:lnTo>
                      <a:pt x="1333" y="6400"/>
                    </a:lnTo>
                    <a:lnTo>
                      <a:pt x="1600" y="6400"/>
                    </a:lnTo>
                    <a:lnTo>
                      <a:pt x="1600" y="5733"/>
                    </a:lnTo>
                    <a:cubicBezTo>
                      <a:pt x="1600" y="5711"/>
                      <a:pt x="1594" y="5689"/>
                      <a:pt x="1583" y="5669"/>
                    </a:cubicBezTo>
                    <a:lnTo>
                      <a:pt x="384" y="3510"/>
                    </a:lnTo>
                    <a:cubicBezTo>
                      <a:pt x="307" y="3372"/>
                      <a:pt x="267" y="3216"/>
                      <a:pt x="267" y="3057"/>
                    </a:cubicBezTo>
                    <a:lnTo>
                      <a:pt x="267" y="534"/>
                    </a:lnTo>
                    <a:cubicBezTo>
                      <a:pt x="267" y="386"/>
                      <a:pt x="386" y="267"/>
                      <a:pt x="533" y="267"/>
                    </a:cubicBezTo>
                    <a:cubicBezTo>
                      <a:pt x="681" y="267"/>
                      <a:pt x="800" y="386"/>
                      <a:pt x="800" y="534"/>
                    </a:cubicBezTo>
                    <a:lnTo>
                      <a:pt x="800" y="2447"/>
                    </a:lnTo>
                    <a:cubicBezTo>
                      <a:pt x="633" y="2641"/>
                      <a:pt x="637" y="2929"/>
                      <a:pt x="809" y="3118"/>
                    </a:cubicBezTo>
                    <a:lnTo>
                      <a:pt x="1901" y="4320"/>
                    </a:lnTo>
                    <a:lnTo>
                      <a:pt x="2099" y="4141"/>
                    </a:lnTo>
                    <a:lnTo>
                      <a:pt x="1006" y="2939"/>
                    </a:lnTo>
                    <a:cubicBezTo>
                      <a:pt x="919" y="2843"/>
                      <a:pt x="923" y="2696"/>
                      <a:pt x="1014" y="2604"/>
                    </a:cubicBezTo>
                    <a:cubicBezTo>
                      <a:pt x="1062" y="2558"/>
                      <a:pt x="1126" y="2532"/>
                      <a:pt x="1192" y="2534"/>
                    </a:cubicBezTo>
                    <a:cubicBezTo>
                      <a:pt x="1258" y="2535"/>
                      <a:pt x="1321" y="2564"/>
                      <a:pt x="1365" y="2614"/>
                    </a:cubicBezTo>
                    <a:lnTo>
                      <a:pt x="2301" y="3654"/>
                    </a:lnTo>
                    <a:cubicBezTo>
                      <a:pt x="2313" y="3665"/>
                      <a:pt x="2326" y="3676"/>
                      <a:pt x="2341" y="3684"/>
                    </a:cubicBezTo>
                    <a:cubicBezTo>
                      <a:pt x="2871" y="3988"/>
                      <a:pt x="3199" y="4552"/>
                      <a:pt x="3200" y="5164"/>
                    </a:cubicBezTo>
                    <a:lnTo>
                      <a:pt x="3200" y="6400"/>
                    </a:lnTo>
                    <a:lnTo>
                      <a:pt x="3467" y="6400"/>
                    </a:lnTo>
                    <a:lnTo>
                      <a:pt x="3467" y="5067"/>
                    </a:lnTo>
                    <a:lnTo>
                      <a:pt x="3463" y="5067"/>
                    </a:lnTo>
                    <a:cubicBezTo>
                      <a:pt x="3429" y="4400"/>
                      <a:pt x="3061" y="3796"/>
                      <a:pt x="2485" y="3459"/>
                    </a:cubicBezTo>
                    <a:lnTo>
                      <a:pt x="1564" y="2435"/>
                    </a:lnTo>
                    <a:cubicBezTo>
                      <a:pt x="1471" y="2331"/>
                      <a:pt x="1339" y="2270"/>
                      <a:pt x="1199" y="2267"/>
                    </a:cubicBezTo>
                    <a:cubicBezTo>
                      <a:pt x="1154" y="2266"/>
                      <a:pt x="1110" y="2272"/>
                      <a:pt x="1067" y="2282"/>
                    </a:cubicBezTo>
                    <a:lnTo>
                      <a:pt x="1067" y="534"/>
                    </a:lnTo>
                    <a:cubicBezTo>
                      <a:pt x="1067" y="239"/>
                      <a:pt x="828" y="0"/>
                      <a:pt x="533" y="0"/>
                    </a:cubicBezTo>
                    <a:cubicBezTo>
                      <a:pt x="239" y="0"/>
                      <a:pt x="0" y="239"/>
                      <a:pt x="0" y="534"/>
                    </a:cubicBezTo>
                    <a:lnTo>
                      <a:pt x="0" y="3057"/>
                    </a:lnTo>
                    <a:cubicBezTo>
                      <a:pt x="0" y="3261"/>
                      <a:pt x="52" y="3462"/>
                      <a:pt x="151" y="3640"/>
                    </a:cubicBezTo>
                    <a:lnTo>
                      <a:pt x="1333" y="576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000" dirty="0"/>
              </a:p>
            </p:txBody>
          </p:sp>
          <p:sp>
            <p:nvSpPr>
              <p:cNvPr id="69" name="Freeform 19">
                <a:extLst>
                  <a:ext uri="{FF2B5EF4-FFF2-40B4-BE49-F238E27FC236}">
                    <a16:creationId xmlns:a16="http://schemas.microsoft.com/office/drawing/2014/main" id="{139CC57B-6574-5E41-AD82-ED9A698CB2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4088" y="4449763"/>
                <a:ext cx="465138" cy="860425"/>
              </a:xfrm>
              <a:custGeom>
                <a:avLst/>
                <a:gdLst>
                  <a:gd name="T0" fmla="*/ 2934 w 3467"/>
                  <a:gd name="T1" fmla="*/ 0 h 6400"/>
                  <a:gd name="T2" fmla="*/ 2400 w 3467"/>
                  <a:gd name="T3" fmla="*/ 534 h 6400"/>
                  <a:gd name="T4" fmla="*/ 2400 w 3467"/>
                  <a:gd name="T5" fmla="*/ 2283 h 6400"/>
                  <a:gd name="T6" fmla="*/ 1903 w 3467"/>
                  <a:gd name="T7" fmla="*/ 2435 h 6400"/>
                  <a:gd name="T8" fmla="*/ 982 w 3467"/>
                  <a:gd name="T9" fmla="*/ 3458 h 6400"/>
                  <a:gd name="T10" fmla="*/ 4 w 3467"/>
                  <a:gd name="T11" fmla="*/ 5067 h 6400"/>
                  <a:gd name="T12" fmla="*/ 0 w 3467"/>
                  <a:gd name="T13" fmla="*/ 5067 h 6400"/>
                  <a:gd name="T14" fmla="*/ 0 w 3467"/>
                  <a:gd name="T15" fmla="*/ 6400 h 6400"/>
                  <a:gd name="T16" fmla="*/ 267 w 3467"/>
                  <a:gd name="T17" fmla="*/ 6400 h 6400"/>
                  <a:gd name="T18" fmla="*/ 267 w 3467"/>
                  <a:gd name="T19" fmla="*/ 5164 h 6400"/>
                  <a:gd name="T20" fmla="*/ 1132 w 3467"/>
                  <a:gd name="T21" fmla="*/ 3680 h 6400"/>
                  <a:gd name="T22" fmla="*/ 1166 w 3467"/>
                  <a:gd name="T23" fmla="*/ 3654 h 6400"/>
                  <a:gd name="T24" fmla="*/ 2101 w 3467"/>
                  <a:gd name="T25" fmla="*/ 2614 h 6400"/>
                  <a:gd name="T26" fmla="*/ 2274 w 3467"/>
                  <a:gd name="T27" fmla="*/ 2534 h 6400"/>
                  <a:gd name="T28" fmla="*/ 2452 w 3467"/>
                  <a:gd name="T29" fmla="*/ 2604 h 6400"/>
                  <a:gd name="T30" fmla="*/ 2460 w 3467"/>
                  <a:gd name="T31" fmla="*/ 2939 h 6400"/>
                  <a:gd name="T32" fmla="*/ 1368 w 3467"/>
                  <a:gd name="T33" fmla="*/ 4141 h 6400"/>
                  <a:gd name="T34" fmla="*/ 1566 w 3467"/>
                  <a:gd name="T35" fmla="*/ 4320 h 6400"/>
                  <a:gd name="T36" fmla="*/ 2658 w 3467"/>
                  <a:gd name="T37" fmla="*/ 3119 h 6400"/>
                  <a:gd name="T38" fmla="*/ 2667 w 3467"/>
                  <a:gd name="T39" fmla="*/ 2447 h 6400"/>
                  <a:gd name="T40" fmla="*/ 2667 w 3467"/>
                  <a:gd name="T41" fmla="*/ 534 h 6400"/>
                  <a:gd name="T42" fmla="*/ 2934 w 3467"/>
                  <a:gd name="T43" fmla="*/ 267 h 6400"/>
                  <a:gd name="T44" fmla="*/ 3200 w 3467"/>
                  <a:gd name="T45" fmla="*/ 534 h 6400"/>
                  <a:gd name="T46" fmla="*/ 3200 w 3467"/>
                  <a:gd name="T47" fmla="*/ 3043 h 6400"/>
                  <a:gd name="T48" fmla="*/ 3070 w 3467"/>
                  <a:gd name="T49" fmla="*/ 3520 h 6400"/>
                  <a:gd name="T50" fmla="*/ 1883 w 3467"/>
                  <a:gd name="T51" fmla="*/ 5669 h 6400"/>
                  <a:gd name="T52" fmla="*/ 1867 w 3467"/>
                  <a:gd name="T53" fmla="*/ 5733 h 6400"/>
                  <a:gd name="T54" fmla="*/ 1867 w 3467"/>
                  <a:gd name="T55" fmla="*/ 6400 h 6400"/>
                  <a:gd name="T56" fmla="*/ 2134 w 3467"/>
                  <a:gd name="T57" fmla="*/ 6400 h 6400"/>
                  <a:gd name="T58" fmla="*/ 2134 w 3467"/>
                  <a:gd name="T59" fmla="*/ 5768 h 6400"/>
                  <a:gd name="T60" fmla="*/ 3301 w 3467"/>
                  <a:gd name="T61" fmla="*/ 3652 h 6400"/>
                  <a:gd name="T62" fmla="*/ 3467 w 3467"/>
                  <a:gd name="T63" fmla="*/ 3043 h 6400"/>
                  <a:gd name="T64" fmla="*/ 3467 w 3467"/>
                  <a:gd name="T65" fmla="*/ 534 h 6400"/>
                  <a:gd name="T66" fmla="*/ 2934 w 3467"/>
                  <a:gd name="T67" fmla="*/ 0 h 6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467" h="6400">
                    <a:moveTo>
                      <a:pt x="2934" y="0"/>
                    </a:moveTo>
                    <a:cubicBezTo>
                      <a:pt x="2639" y="0"/>
                      <a:pt x="2400" y="239"/>
                      <a:pt x="2400" y="534"/>
                    </a:cubicBezTo>
                    <a:lnTo>
                      <a:pt x="2400" y="2283"/>
                    </a:lnTo>
                    <a:cubicBezTo>
                      <a:pt x="2219" y="2236"/>
                      <a:pt x="2027" y="2295"/>
                      <a:pt x="1903" y="2435"/>
                    </a:cubicBezTo>
                    <a:lnTo>
                      <a:pt x="982" y="3458"/>
                    </a:lnTo>
                    <a:cubicBezTo>
                      <a:pt x="405" y="3795"/>
                      <a:pt x="37" y="4400"/>
                      <a:pt x="4" y="5067"/>
                    </a:cubicBezTo>
                    <a:lnTo>
                      <a:pt x="0" y="5067"/>
                    </a:lnTo>
                    <a:lnTo>
                      <a:pt x="0" y="6400"/>
                    </a:lnTo>
                    <a:lnTo>
                      <a:pt x="267" y="6400"/>
                    </a:lnTo>
                    <a:lnTo>
                      <a:pt x="267" y="5164"/>
                    </a:lnTo>
                    <a:cubicBezTo>
                      <a:pt x="268" y="4550"/>
                      <a:pt x="598" y="3984"/>
                      <a:pt x="1132" y="3680"/>
                    </a:cubicBezTo>
                    <a:cubicBezTo>
                      <a:pt x="1145" y="3673"/>
                      <a:pt x="1156" y="3664"/>
                      <a:pt x="1166" y="3654"/>
                    </a:cubicBezTo>
                    <a:lnTo>
                      <a:pt x="2101" y="2614"/>
                    </a:lnTo>
                    <a:cubicBezTo>
                      <a:pt x="2145" y="2564"/>
                      <a:pt x="2208" y="2535"/>
                      <a:pt x="2274" y="2534"/>
                    </a:cubicBezTo>
                    <a:cubicBezTo>
                      <a:pt x="2341" y="2532"/>
                      <a:pt x="2405" y="2558"/>
                      <a:pt x="2452" y="2604"/>
                    </a:cubicBezTo>
                    <a:cubicBezTo>
                      <a:pt x="2544" y="2696"/>
                      <a:pt x="2547" y="2843"/>
                      <a:pt x="2460" y="2939"/>
                    </a:cubicBezTo>
                    <a:lnTo>
                      <a:pt x="1368" y="4141"/>
                    </a:lnTo>
                    <a:lnTo>
                      <a:pt x="1566" y="4320"/>
                    </a:lnTo>
                    <a:lnTo>
                      <a:pt x="2658" y="3119"/>
                    </a:lnTo>
                    <a:cubicBezTo>
                      <a:pt x="2830" y="2929"/>
                      <a:pt x="2834" y="2641"/>
                      <a:pt x="2667" y="2447"/>
                    </a:cubicBezTo>
                    <a:lnTo>
                      <a:pt x="2667" y="534"/>
                    </a:lnTo>
                    <a:cubicBezTo>
                      <a:pt x="2667" y="386"/>
                      <a:pt x="2786" y="267"/>
                      <a:pt x="2934" y="267"/>
                    </a:cubicBezTo>
                    <a:cubicBezTo>
                      <a:pt x="3081" y="267"/>
                      <a:pt x="3200" y="386"/>
                      <a:pt x="3200" y="534"/>
                    </a:cubicBezTo>
                    <a:lnTo>
                      <a:pt x="3200" y="3043"/>
                    </a:lnTo>
                    <a:cubicBezTo>
                      <a:pt x="3200" y="3211"/>
                      <a:pt x="3155" y="3375"/>
                      <a:pt x="3070" y="3520"/>
                    </a:cubicBezTo>
                    <a:lnTo>
                      <a:pt x="1883" y="5669"/>
                    </a:lnTo>
                    <a:cubicBezTo>
                      <a:pt x="1872" y="5689"/>
                      <a:pt x="1867" y="5711"/>
                      <a:pt x="1867" y="5733"/>
                    </a:cubicBezTo>
                    <a:lnTo>
                      <a:pt x="1867" y="6400"/>
                    </a:lnTo>
                    <a:lnTo>
                      <a:pt x="2134" y="6400"/>
                    </a:lnTo>
                    <a:lnTo>
                      <a:pt x="2134" y="5768"/>
                    </a:lnTo>
                    <a:lnTo>
                      <a:pt x="3301" y="3652"/>
                    </a:lnTo>
                    <a:cubicBezTo>
                      <a:pt x="3410" y="3467"/>
                      <a:pt x="3467" y="3257"/>
                      <a:pt x="3467" y="3043"/>
                    </a:cubicBezTo>
                    <a:lnTo>
                      <a:pt x="3467" y="534"/>
                    </a:lnTo>
                    <a:cubicBezTo>
                      <a:pt x="3467" y="239"/>
                      <a:pt x="3228" y="0"/>
                      <a:pt x="293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000" dirty="0"/>
              </a:p>
            </p:txBody>
          </p:sp>
          <p:sp>
            <p:nvSpPr>
              <p:cNvPr id="70" name="Freeform 20">
                <a:extLst>
                  <a:ext uri="{FF2B5EF4-FFF2-40B4-BE49-F238E27FC236}">
                    <a16:creationId xmlns:a16="http://schemas.microsoft.com/office/drawing/2014/main" id="{0D22B871-2787-884A-B22F-01C0F2052B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87851" y="4235450"/>
                <a:ext cx="609600" cy="681038"/>
              </a:xfrm>
              <a:custGeom>
                <a:avLst/>
                <a:gdLst>
                  <a:gd name="T0" fmla="*/ 4267 w 4534"/>
                  <a:gd name="T1" fmla="*/ 3627 h 5073"/>
                  <a:gd name="T2" fmla="*/ 2400 w 4534"/>
                  <a:gd name="T3" fmla="*/ 4707 h 5073"/>
                  <a:gd name="T4" fmla="*/ 2400 w 4534"/>
                  <a:gd name="T5" fmla="*/ 2617 h 5073"/>
                  <a:gd name="T6" fmla="*/ 4267 w 4534"/>
                  <a:gd name="T7" fmla="*/ 1567 h 5073"/>
                  <a:gd name="T8" fmla="*/ 4267 w 4534"/>
                  <a:gd name="T9" fmla="*/ 3627 h 5073"/>
                  <a:gd name="T10" fmla="*/ 2267 w 4534"/>
                  <a:gd name="T11" fmla="*/ 2386 h 5073"/>
                  <a:gd name="T12" fmla="*/ 1414 w 4534"/>
                  <a:gd name="T13" fmla="*/ 1905 h 5073"/>
                  <a:gd name="T14" fmla="*/ 3274 w 4534"/>
                  <a:gd name="T15" fmla="*/ 859 h 5073"/>
                  <a:gd name="T16" fmla="*/ 4128 w 4534"/>
                  <a:gd name="T17" fmla="*/ 1339 h 5073"/>
                  <a:gd name="T18" fmla="*/ 2267 w 4534"/>
                  <a:gd name="T19" fmla="*/ 2386 h 5073"/>
                  <a:gd name="T20" fmla="*/ 2134 w 4534"/>
                  <a:gd name="T21" fmla="*/ 4707 h 5073"/>
                  <a:gd name="T22" fmla="*/ 267 w 4534"/>
                  <a:gd name="T23" fmla="*/ 3627 h 5073"/>
                  <a:gd name="T24" fmla="*/ 267 w 4534"/>
                  <a:gd name="T25" fmla="*/ 1567 h 5073"/>
                  <a:gd name="T26" fmla="*/ 2134 w 4534"/>
                  <a:gd name="T27" fmla="*/ 2617 h 5073"/>
                  <a:gd name="T28" fmla="*/ 2134 w 4534"/>
                  <a:gd name="T29" fmla="*/ 4707 h 5073"/>
                  <a:gd name="T30" fmla="*/ 2267 w 4534"/>
                  <a:gd name="T31" fmla="*/ 291 h 5073"/>
                  <a:gd name="T32" fmla="*/ 3002 w 4534"/>
                  <a:gd name="T33" fmla="*/ 705 h 5073"/>
                  <a:gd name="T34" fmla="*/ 1141 w 4534"/>
                  <a:gd name="T35" fmla="*/ 1752 h 5073"/>
                  <a:gd name="T36" fmla="*/ 406 w 4534"/>
                  <a:gd name="T37" fmla="*/ 1339 h 5073"/>
                  <a:gd name="T38" fmla="*/ 2267 w 4534"/>
                  <a:gd name="T39" fmla="*/ 291 h 5073"/>
                  <a:gd name="T40" fmla="*/ 4534 w 4534"/>
                  <a:gd name="T41" fmla="*/ 3704 h 5073"/>
                  <a:gd name="T42" fmla="*/ 4534 w 4534"/>
                  <a:gd name="T43" fmla="*/ 1339 h 5073"/>
                  <a:gd name="T44" fmla="*/ 4529 w 4534"/>
                  <a:gd name="T45" fmla="*/ 1304 h 5073"/>
                  <a:gd name="T46" fmla="*/ 4525 w 4534"/>
                  <a:gd name="T47" fmla="*/ 1293 h 5073"/>
                  <a:gd name="T48" fmla="*/ 4516 w 4534"/>
                  <a:gd name="T49" fmla="*/ 1272 h 5073"/>
                  <a:gd name="T50" fmla="*/ 4508 w 4534"/>
                  <a:gd name="T51" fmla="*/ 1261 h 5073"/>
                  <a:gd name="T52" fmla="*/ 4494 w 4534"/>
                  <a:gd name="T53" fmla="*/ 1244 h 5073"/>
                  <a:gd name="T54" fmla="*/ 4485 w 4534"/>
                  <a:gd name="T55" fmla="*/ 1237 h 5073"/>
                  <a:gd name="T56" fmla="*/ 4468 w 4534"/>
                  <a:gd name="T57" fmla="*/ 1223 h 5073"/>
                  <a:gd name="T58" fmla="*/ 4466 w 4534"/>
                  <a:gd name="T59" fmla="*/ 1223 h 5073"/>
                  <a:gd name="T60" fmla="*/ 4466 w 4534"/>
                  <a:gd name="T61" fmla="*/ 1223 h 5073"/>
                  <a:gd name="T62" fmla="*/ 2333 w 4534"/>
                  <a:gd name="T63" fmla="*/ 23 h 5073"/>
                  <a:gd name="T64" fmla="*/ 2202 w 4534"/>
                  <a:gd name="T65" fmla="*/ 23 h 5073"/>
                  <a:gd name="T66" fmla="*/ 69 w 4534"/>
                  <a:gd name="T67" fmla="*/ 1223 h 5073"/>
                  <a:gd name="T68" fmla="*/ 69 w 4534"/>
                  <a:gd name="T69" fmla="*/ 1223 h 5073"/>
                  <a:gd name="T70" fmla="*/ 68 w 4534"/>
                  <a:gd name="T71" fmla="*/ 1223 h 5073"/>
                  <a:gd name="T72" fmla="*/ 51 w 4534"/>
                  <a:gd name="T73" fmla="*/ 1237 h 5073"/>
                  <a:gd name="T74" fmla="*/ 41 w 4534"/>
                  <a:gd name="T75" fmla="*/ 1244 h 5073"/>
                  <a:gd name="T76" fmla="*/ 28 w 4534"/>
                  <a:gd name="T77" fmla="*/ 1261 h 5073"/>
                  <a:gd name="T78" fmla="*/ 20 w 4534"/>
                  <a:gd name="T79" fmla="*/ 1272 h 5073"/>
                  <a:gd name="T80" fmla="*/ 11 w 4534"/>
                  <a:gd name="T81" fmla="*/ 1293 h 5073"/>
                  <a:gd name="T82" fmla="*/ 6 w 4534"/>
                  <a:gd name="T83" fmla="*/ 1304 h 5073"/>
                  <a:gd name="T84" fmla="*/ 0 w 4534"/>
                  <a:gd name="T85" fmla="*/ 1339 h 5073"/>
                  <a:gd name="T86" fmla="*/ 0 w 4534"/>
                  <a:gd name="T87" fmla="*/ 3704 h 5073"/>
                  <a:gd name="T88" fmla="*/ 67 w 4534"/>
                  <a:gd name="T89" fmla="*/ 3820 h 5073"/>
                  <a:gd name="T90" fmla="*/ 2200 w 4534"/>
                  <a:gd name="T91" fmla="*/ 5054 h 5073"/>
                  <a:gd name="T92" fmla="*/ 2200 w 4534"/>
                  <a:gd name="T93" fmla="*/ 5054 h 5073"/>
                  <a:gd name="T94" fmla="*/ 2226 w 4534"/>
                  <a:gd name="T95" fmla="*/ 5064 h 5073"/>
                  <a:gd name="T96" fmla="*/ 2233 w 4534"/>
                  <a:gd name="T97" fmla="*/ 5067 h 5073"/>
                  <a:gd name="T98" fmla="*/ 2301 w 4534"/>
                  <a:gd name="T99" fmla="*/ 5067 h 5073"/>
                  <a:gd name="T100" fmla="*/ 2308 w 4534"/>
                  <a:gd name="T101" fmla="*/ 5064 h 5073"/>
                  <a:gd name="T102" fmla="*/ 2334 w 4534"/>
                  <a:gd name="T103" fmla="*/ 5054 h 5073"/>
                  <a:gd name="T104" fmla="*/ 2334 w 4534"/>
                  <a:gd name="T105" fmla="*/ 5054 h 5073"/>
                  <a:gd name="T106" fmla="*/ 4467 w 4534"/>
                  <a:gd name="T107" fmla="*/ 3820 h 5073"/>
                  <a:gd name="T108" fmla="*/ 4534 w 4534"/>
                  <a:gd name="T109" fmla="*/ 3704 h 50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534" h="5073">
                    <a:moveTo>
                      <a:pt x="4267" y="3627"/>
                    </a:moveTo>
                    <a:lnTo>
                      <a:pt x="2400" y="4707"/>
                    </a:lnTo>
                    <a:lnTo>
                      <a:pt x="2400" y="2617"/>
                    </a:lnTo>
                    <a:lnTo>
                      <a:pt x="4267" y="1567"/>
                    </a:lnTo>
                    <a:lnTo>
                      <a:pt x="4267" y="3627"/>
                    </a:lnTo>
                    <a:close/>
                    <a:moveTo>
                      <a:pt x="2267" y="2386"/>
                    </a:moveTo>
                    <a:lnTo>
                      <a:pt x="1414" y="1905"/>
                    </a:lnTo>
                    <a:lnTo>
                      <a:pt x="3274" y="859"/>
                    </a:lnTo>
                    <a:lnTo>
                      <a:pt x="4128" y="1339"/>
                    </a:lnTo>
                    <a:lnTo>
                      <a:pt x="2267" y="2386"/>
                    </a:lnTo>
                    <a:close/>
                    <a:moveTo>
                      <a:pt x="2134" y="4707"/>
                    </a:moveTo>
                    <a:lnTo>
                      <a:pt x="267" y="3627"/>
                    </a:lnTo>
                    <a:lnTo>
                      <a:pt x="267" y="1567"/>
                    </a:lnTo>
                    <a:lnTo>
                      <a:pt x="2134" y="2617"/>
                    </a:lnTo>
                    <a:lnTo>
                      <a:pt x="2134" y="4707"/>
                    </a:lnTo>
                    <a:close/>
                    <a:moveTo>
                      <a:pt x="2267" y="291"/>
                    </a:moveTo>
                    <a:lnTo>
                      <a:pt x="3002" y="705"/>
                    </a:lnTo>
                    <a:lnTo>
                      <a:pt x="1141" y="1752"/>
                    </a:lnTo>
                    <a:lnTo>
                      <a:pt x="406" y="1339"/>
                    </a:lnTo>
                    <a:lnTo>
                      <a:pt x="2267" y="291"/>
                    </a:lnTo>
                    <a:close/>
                    <a:moveTo>
                      <a:pt x="4534" y="3704"/>
                    </a:moveTo>
                    <a:lnTo>
                      <a:pt x="4534" y="1339"/>
                    </a:lnTo>
                    <a:cubicBezTo>
                      <a:pt x="4534" y="1327"/>
                      <a:pt x="4532" y="1315"/>
                      <a:pt x="4529" y="1304"/>
                    </a:cubicBezTo>
                    <a:cubicBezTo>
                      <a:pt x="4528" y="1300"/>
                      <a:pt x="4526" y="1297"/>
                      <a:pt x="4525" y="1293"/>
                    </a:cubicBezTo>
                    <a:cubicBezTo>
                      <a:pt x="4522" y="1286"/>
                      <a:pt x="4519" y="1279"/>
                      <a:pt x="4516" y="1272"/>
                    </a:cubicBezTo>
                    <a:cubicBezTo>
                      <a:pt x="4513" y="1268"/>
                      <a:pt x="4510" y="1265"/>
                      <a:pt x="4508" y="1261"/>
                    </a:cubicBezTo>
                    <a:cubicBezTo>
                      <a:pt x="4504" y="1255"/>
                      <a:pt x="4499" y="1250"/>
                      <a:pt x="4494" y="1244"/>
                    </a:cubicBezTo>
                    <a:cubicBezTo>
                      <a:pt x="4492" y="1241"/>
                      <a:pt x="4488" y="1239"/>
                      <a:pt x="4485" y="1237"/>
                    </a:cubicBezTo>
                    <a:cubicBezTo>
                      <a:pt x="4479" y="1232"/>
                      <a:pt x="4474" y="1227"/>
                      <a:pt x="4468" y="1223"/>
                    </a:cubicBezTo>
                    <a:lnTo>
                      <a:pt x="4466" y="1223"/>
                    </a:lnTo>
                    <a:lnTo>
                      <a:pt x="4466" y="1223"/>
                    </a:lnTo>
                    <a:lnTo>
                      <a:pt x="2333" y="23"/>
                    </a:lnTo>
                    <a:cubicBezTo>
                      <a:pt x="2292" y="0"/>
                      <a:pt x="2243" y="0"/>
                      <a:pt x="2202" y="23"/>
                    </a:cubicBezTo>
                    <a:lnTo>
                      <a:pt x="69" y="1223"/>
                    </a:lnTo>
                    <a:lnTo>
                      <a:pt x="69" y="1223"/>
                    </a:lnTo>
                    <a:lnTo>
                      <a:pt x="68" y="1223"/>
                    </a:lnTo>
                    <a:cubicBezTo>
                      <a:pt x="62" y="1227"/>
                      <a:pt x="56" y="1232"/>
                      <a:pt x="51" y="1237"/>
                    </a:cubicBezTo>
                    <a:cubicBezTo>
                      <a:pt x="48" y="1239"/>
                      <a:pt x="44" y="1241"/>
                      <a:pt x="41" y="1244"/>
                    </a:cubicBezTo>
                    <a:cubicBezTo>
                      <a:pt x="36" y="1250"/>
                      <a:pt x="32" y="1255"/>
                      <a:pt x="28" y="1261"/>
                    </a:cubicBezTo>
                    <a:cubicBezTo>
                      <a:pt x="25" y="1265"/>
                      <a:pt x="22" y="1268"/>
                      <a:pt x="20" y="1272"/>
                    </a:cubicBezTo>
                    <a:cubicBezTo>
                      <a:pt x="16" y="1279"/>
                      <a:pt x="13" y="1286"/>
                      <a:pt x="11" y="1293"/>
                    </a:cubicBezTo>
                    <a:cubicBezTo>
                      <a:pt x="9" y="1297"/>
                      <a:pt x="7" y="1300"/>
                      <a:pt x="6" y="1304"/>
                    </a:cubicBezTo>
                    <a:cubicBezTo>
                      <a:pt x="3" y="1315"/>
                      <a:pt x="1" y="1327"/>
                      <a:pt x="0" y="1339"/>
                    </a:cubicBezTo>
                    <a:lnTo>
                      <a:pt x="0" y="3704"/>
                    </a:lnTo>
                    <a:cubicBezTo>
                      <a:pt x="0" y="3752"/>
                      <a:pt x="26" y="3796"/>
                      <a:pt x="67" y="3820"/>
                    </a:cubicBezTo>
                    <a:lnTo>
                      <a:pt x="2200" y="5054"/>
                    </a:lnTo>
                    <a:lnTo>
                      <a:pt x="2200" y="5054"/>
                    </a:lnTo>
                    <a:cubicBezTo>
                      <a:pt x="2208" y="5058"/>
                      <a:pt x="2217" y="5062"/>
                      <a:pt x="2226" y="5064"/>
                    </a:cubicBezTo>
                    <a:cubicBezTo>
                      <a:pt x="2228" y="5065"/>
                      <a:pt x="2230" y="5067"/>
                      <a:pt x="2233" y="5067"/>
                    </a:cubicBezTo>
                    <a:cubicBezTo>
                      <a:pt x="2255" y="5073"/>
                      <a:pt x="2279" y="5073"/>
                      <a:pt x="2301" y="5067"/>
                    </a:cubicBezTo>
                    <a:cubicBezTo>
                      <a:pt x="2304" y="5067"/>
                      <a:pt x="2306" y="5065"/>
                      <a:pt x="2308" y="5064"/>
                    </a:cubicBezTo>
                    <a:cubicBezTo>
                      <a:pt x="2317" y="5062"/>
                      <a:pt x="2326" y="5058"/>
                      <a:pt x="2334" y="5054"/>
                    </a:cubicBezTo>
                    <a:lnTo>
                      <a:pt x="2334" y="5054"/>
                    </a:lnTo>
                    <a:lnTo>
                      <a:pt x="4467" y="3820"/>
                    </a:lnTo>
                    <a:cubicBezTo>
                      <a:pt x="4508" y="3796"/>
                      <a:pt x="4534" y="3752"/>
                      <a:pt x="4534" y="370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000" dirty="0"/>
              </a:p>
            </p:txBody>
          </p:sp>
          <p:sp>
            <p:nvSpPr>
              <p:cNvPr id="71" name="Rectangle 21">
                <a:extLst>
                  <a:ext uri="{FF2B5EF4-FFF2-40B4-BE49-F238E27FC236}">
                    <a16:creationId xmlns:a16="http://schemas.microsoft.com/office/drawing/2014/main" id="{1450111C-9DCD-9345-897F-5CD040E8F4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89501" y="4683125"/>
                <a:ext cx="34925" cy="365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000" dirty="0"/>
              </a:p>
            </p:txBody>
          </p:sp>
          <p:sp>
            <p:nvSpPr>
              <p:cNvPr id="72" name="Rectangle 22">
                <a:extLst>
                  <a:ext uri="{FF2B5EF4-FFF2-40B4-BE49-F238E27FC236}">
                    <a16:creationId xmlns:a16="http://schemas.microsoft.com/office/drawing/2014/main" id="{9776205C-6D36-3141-A0AF-0CC003B58FB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18063" y="4719638"/>
                <a:ext cx="34925" cy="349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000" dirty="0"/>
              </a:p>
            </p:txBody>
          </p:sp>
          <p:sp>
            <p:nvSpPr>
              <p:cNvPr id="73" name="Rectangle 23">
                <a:extLst>
                  <a:ext uri="{FF2B5EF4-FFF2-40B4-BE49-F238E27FC236}">
                    <a16:creationId xmlns:a16="http://schemas.microsoft.com/office/drawing/2014/main" id="{A5A475A5-9530-EE40-A259-DF067F2A27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46626" y="4754563"/>
                <a:ext cx="34925" cy="365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000" dirty="0"/>
              </a:p>
            </p:txBody>
          </p:sp>
        </p:grpSp>
        <p:cxnSp>
          <p:nvCxnSpPr>
            <p:cNvPr id="74" name="Straight Connector 73"/>
            <p:cNvCxnSpPr/>
            <p:nvPr/>
          </p:nvCxnSpPr>
          <p:spPr>
            <a:xfrm>
              <a:off x="6937346" y="1870826"/>
              <a:ext cx="0" cy="920387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/>
            <p:cNvCxnSpPr/>
            <p:nvPr/>
          </p:nvCxnSpPr>
          <p:spPr>
            <a:xfrm>
              <a:off x="6937346" y="4757550"/>
              <a:ext cx="0" cy="91440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/>
            <p:cNvCxnSpPr/>
            <p:nvPr/>
          </p:nvCxnSpPr>
          <p:spPr>
            <a:xfrm>
              <a:off x="2188321" y="3264760"/>
              <a:ext cx="8764991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/>
            <p:cNvCxnSpPr/>
            <p:nvPr/>
          </p:nvCxnSpPr>
          <p:spPr>
            <a:xfrm flipV="1">
              <a:off x="2333399" y="4261064"/>
              <a:ext cx="8619913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Rectangle 77"/>
            <p:cNvSpPr/>
            <p:nvPr/>
          </p:nvSpPr>
          <p:spPr bwMode="auto">
            <a:xfrm>
              <a:off x="597814" y="3262999"/>
              <a:ext cx="1754521" cy="1020406"/>
            </a:xfrm>
            <a:prstGeom prst="rect">
              <a:avLst/>
            </a:prstGeom>
            <a:solidFill>
              <a:srgbClr val="002B53">
                <a:lumMod val="90000"/>
                <a:lumOff val="10000"/>
              </a:srgbClr>
            </a:solidFill>
            <a:ln>
              <a:noFill/>
            </a:ln>
          </p:spPr>
          <p:txBody>
            <a:bodyPr vert="horz" wrap="square" lIns="42863" tIns="21431" rIns="42863" bIns="21431" numCol="1" rtlCol="0" anchor="b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200" kern="0" dirty="0">
                <a:solidFill>
                  <a:schemeClr val="bg1"/>
                </a:solidFill>
              </a:endParaRPr>
            </a:p>
            <a:p>
              <a:pPr algn="ctr"/>
              <a:endParaRPr lang="en-US" sz="1200" b="1" kern="0" dirty="0">
                <a:solidFill>
                  <a:schemeClr val="bg1"/>
                </a:solidFill>
              </a:endParaRPr>
            </a:p>
            <a:p>
              <a:pPr algn="ctr"/>
              <a:endParaRPr lang="en-US" sz="1200" b="1" kern="0" dirty="0">
                <a:solidFill>
                  <a:schemeClr val="bg1"/>
                </a:solidFill>
              </a:endParaRPr>
            </a:p>
            <a:p>
              <a:pPr algn="ctr"/>
              <a:r>
                <a:rPr lang="en-US" sz="1200" b="1" kern="0" dirty="0" smtClean="0">
                  <a:solidFill>
                    <a:schemeClr val="bg1"/>
                  </a:solidFill>
                </a:rPr>
                <a:t>Data Mapping to BI Report</a:t>
              </a:r>
              <a:endParaRPr lang="en-US" sz="1200" kern="0" dirty="0">
                <a:solidFill>
                  <a:schemeClr val="bg1"/>
                </a:solidFill>
              </a:endParaRPr>
            </a:p>
          </p:txBody>
        </p:sp>
        <p:sp>
          <p:nvSpPr>
            <p:cNvPr id="79" name="Rectangle 78"/>
            <p:cNvSpPr/>
            <p:nvPr/>
          </p:nvSpPr>
          <p:spPr bwMode="auto">
            <a:xfrm>
              <a:off x="2549246" y="3262998"/>
              <a:ext cx="4377025" cy="999169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42863" tIns="21431" rIns="42863" bIns="21431" numCol="1" rtlCol="0" anchor="ctr" anchorCtr="0" compatLnSpc="1">
              <a:prstTxWarp prst="textNoShape">
                <a:avLst/>
              </a:prstTxWarp>
            </a:bodyPr>
            <a:lstStyle/>
            <a:p>
              <a:pPr marL="171450" lvl="0" indent="-171450">
                <a:buFont typeface="Wingdings" panose="05000000000000000000" pitchFamily="2" charset="2"/>
                <a:buChar char="ü"/>
                <a:defRPr/>
              </a:pPr>
              <a:r>
                <a:rPr lang="en-US" sz="1050" dirty="0" smtClean="0"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pping of columns </a:t>
              </a:r>
              <a:r>
                <a:rPr lang="en-US" sz="105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r values of the data </a:t>
              </a:r>
              <a:r>
                <a:rPr lang="en-US" sz="1050" dirty="0" smtClean="0"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rom the fact tables </a:t>
              </a:r>
              <a:r>
                <a:rPr lang="en-US" sz="1050" dirty="0" smtClean="0"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reate </a:t>
              </a:r>
              <a:r>
                <a:rPr lang="en-US" sz="1050" dirty="0" smtClean="0"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d </a:t>
              </a:r>
              <a:r>
                <a:rPr lang="en-US" sz="1050" dirty="0" smtClean="0"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ploaded </a:t>
              </a:r>
              <a:r>
                <a:rPr lang="en-US" sz="1050" dirty="0" smtClean="0"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en-US" sz="1050" dirty="0" smtClean="0"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ndbox</a:t>
              </a:r>
              <a:endParaRPr lang="en-US" sz="105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50" lvl="0" indent="-171450">
                <a:buFont typeface="Wingdings" panose="05000000000000000000" pitchFamily="2" charset="2"/>
                <a:buChar char="ü"/>
                <a:defRPr/>
              </a:pPr>
              <a:r>
                <a:rPr lang="en-US" sz="1050" dirty="0" smtClean="0"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alidate the Filed Level Format/Transformation Assessment &amp; Best-Fit Feasibility at Data/BI Layer</a:t>
              </a:r>
            </a:p>
            <a:p>
              <a:pPr marL="171450" lvl="0" indent="-171450">
                <a:buFont typeface="Wingdings" panose="05000000000000000000" pitchFamily="2" charset="2"/>
                <a:buChar char="ü"/>
                <a:defRPr/>
              </a:pPr>
              <a:r>
                <a:rPr lang="en-US" sz="1050" dirty="0" smtClean="0"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termining </a:t>
              </a:r>
              <a:r>
                <a:rPr lang="en-US" sz="1050" dirty="0" smtClean="0"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 Data Ingestion &amp; Automation </a:t>
              </a:r>
              <a:r>
                <a:rPr lang="en-US" sz="1050" dirty="0" smtClean="0"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orkflow Rules</a:t>
              </a:r>
              <a:endParaRPr lang="en-US" sz="105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0" name="Rectangle 79"/>
            <p:cNvSpPr/>
            <p:nvPr/>
          </p:nvSpPr>
          <p:spPr bwMode="auto">
            <a:xfrm>
              <a:off x="7168007" y="3264759"/>
              <a:ext cx="3664437" cy="995203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42863" tIns="21431" rIns="42863" bIns="21431" numCol="1" rtlCol="0" anchor="ctr" anchorCtr="0" compatLnSpc="1">
              <a:prstTxWarp prst="textNoShape">
                <a:avLst/>
              </a:prstTxWarp>
            </a:bodyPr>
            <a:lstStyle/>
            <a:p>
              <a:pPr marL="171450" lvl="0" indent="-171450" defTabSz="914400">
                <a:buFont typeface="Wingdings" panose="05000000000000000000" pitchFamily="2" charset="2"/>
                <a:buChar char="v"/>
                <a:defRPr/>
              </a:pPr>
              <a:r>
                <a:rPr lang="en-US" sz="10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</a:rPr>
                <a:t>Limited access to the MS Excel for Validation</a:t>
              </a:r>
            </a:p>
            <a:p>
              <a:pPr marL="171450" lvl="0" indent="-171450" defTabSz="914400">
                <a:buFont typeface="Wingdings" panose="05000000000000000000" pitchFamily="2" charset="2"/>
                <a:buChar char="v"/>
                <a:defRPr/>
              </a:pPr>
              <a:r>
                <a:rPr lang="en-US" sz="10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</a:rPr>
                <a:t>Awaited access to AWS Insights for </a:t>
              </a:r>
              <a:r>
                <a:rPr lang="en-US" sz="10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</a:rPr>
                <a:t>Mapping &amp; Transformation Assessment</a:t>
              </a:r>
            </a:p>
            <a:p>
              <a:pPr marL="171450" lvl="0" indent="-171450" defTabSz="914400">
                <a:buFont typeface="Wingdings" panose="05000000000000000000" pitchFamily="2" charset="2"/>
                <a:buChar char="v"/>
                <a:defRPr/>
              </a:pPr>
              <a:r>
                <a:rPr lang="en-US" sz="10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</a:rPr>
                <a:t>Awaited access for Tableau BI Solution</a:t>
              </a:r>
              <a:endParaRPr lang="en-US" sz="105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</a:endParaRPr>
            </a:p>
          </p:txBody>
        </p:sp>
        <p:cxnSp>
          <p:nvCxnSpPr>
            <p:cNvPr id="81" name="Straight Connector 80"/>
            <p:cNvCxnSpPr/>
            <p:nvPr/>
          </p:nvCxnSpPr>
          <p:spPr>
            <a:xfrm>
              <a:off x="6937346" y="3317181"/>
              <a:ext cx="0" cy="91440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82" name="Picture 81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162" t="23636" r="25152" b="26667"/>
            <a:stretch/>
          </p:blipFill>
          <p:spPr>
            <a:xfrm>
              <a:off x="1180294" y="3369638"/>
              <a:ext cx="497487" cy="575673"/>
            </a:xfrm>
            <a:prstGeom prst="rect">
              <a:avLst/>
            </a:prstGeom>
          </p:spPr>
        </p:pic>
        <p:cxnSp>
          <p:nvCxnSpPr>
            <p:cNvPr id="83" name="Straight Connector 82"/>
            <p:cNvCxnSpPr/>
            <p:nvPr/>
          </p:nvCxnSpPr>
          <p:spPr>
            <a:xfrm>
              <a:off x="10953312" y="1861513"/>
              <a:ext cx="0" cy="91123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/>
            <p:nvPr/>
          </p:nvCxnSpPr>
          <p:spPr>
            <a:xfrm>
              <a:off x="10953312" y="3282371"/>
              <a:ext cx="0" cy="9144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/>
            <p:cNvCxnSpPr/>
            <p:nvPr/>
          </p:nvCxnSpPr>
          <p:spPr>
            <a:xfrm>
              <a:off x="10953312" y="4753134"/>
              <a:ext cx="0" cy="9144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86" name="Picture 2" descr="Next Icon 55658">
              <a:hlinkClick r:id="rId2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51096" y="2036336"/>
              <a:ext cx="373943" cy="4239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7" name="Picture 2" descr="Next Icon 55658">
              <a:hlinkClick r:id="rId6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51096" y="3364818"/>
              <a:ext cx="373943" cy="4239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8" name="Picture 2" descr="Next Icon 55658">
              <a:hlinkClick r:id="" action="ppaction://noaction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71200" y="4938147"/>
              <a:ext cx="373943" cy="4239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300722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3B3D9-5974-6DF1-41E8-FE8BB3E28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7"/>
            <a:ext cx="11204448" cy="814225"/>
          </a:xfrm>
        </p:spPr>
        <p:txBody>
          <a:bodyPr/>
          <a:lstStyle/>
          <a:p>
            <a:r>
              <a:rPr lang="en-US" dirty="0" smtClean="0"/>
              <a:t>Summary of the CIAM Data Points for BI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F66A7C-FACA-CDF4-CE52-E253CDBB6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828501-58BA-692E-22E4-583AADE806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2" name="TextBox 51"/>
          <p:cNvSpPr txBox="1"/>
          <p:nvPr/>
        </p:nvSpPr>
        <p:spPr>
          <a:xfrm>
            <a:off x="9790545" y="0"/>
            <a:ext cx="2401455" cy="1477328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+mj-lt"/>
              </a:rPr>
              <a:t>Update COX Details from Data Model– Shital &amp; Sharmila</a:t>
            </a:r>
          </a:p>
          <a:p>
            <a:pPr algn="ctr"/>
            <a:r>
              <a:rPr lang="en-US" dirty="0" smtClean="0">
                <a:latin typeface="+mj-lt"/>
              </a:rPr>
              <a:t>Review – Shree/Harry/Vikas</a:t>
            </a:r>
          </a:p>
        </p:txBody>
      </p:sp>
      <p:graphicFrame>
        <p:nvGraphicFramePr>
          <p:cNvPr id="42" name="Table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1947136"/>
              </p:ext>
            </p:extLst>
          </p:nvPr>
        </p:nvGraphicFramePr>
        <p:xfrm>
          <a:off x="489727" y="1034307"/>
          <a:ext cx="6124053" cy="5428997"/>
        </p:xfrm>
        <a:graphic>
          <a:graphicData uri="http://schemas.openxmlformats.org/drawingml/2006/table">
            <a:tbl>
              <a:tblPr/>
              <a:tblGrid>
                <a:gridCol w="1005917">
                  <a:extLst>
                    <a:ext uri="{9D8B030D-6E8A-4147-A177-3AD203B41FA5}">
                      <a16:colId xmlns:a16="http://schemas.microsoft.com/office/drawing/2014/main" val="917640169"/>
                    </a:ext>
                  </a:extLst>
                </a:gridCol>
                <a:gridCol w="1416784">
                  <a:extLst>
                    <a:ext uri="{9D8B030D-6E8A-4147-A177-3AD203B41FA5}">
                      <a16:colId xmlns:a16="http://schemas.microsoft.com/office/drawing/2014/main" val="1282385843"/>
                    </a:ext>
                  </a:extLst>
                </a:gridCol>
                <a:gridCol w="1105093">
                  <a:extLst>
                    <a:ext uri="{9D8B030D-6E8A-4147-A177-3AD203B41FA5}">
                      <a16:colId xmlns:a16="http://schemas.microsoft.com/office/drawing/2014/main" val="256567629"/>
                    </a:ext>
                  </a:extLst>
                </a:gridCol>
                <a:gridCol w="1119261">
                  <a:extLst>
                    <a:ext uri="{9D8B030D-6E8A-4147-A177-3AD203B41FA5}">
                      <a16:colId xmlns:a16="http://schemas.microsoft.com/office/drawing/2014/main" val="890048251"/>
                    </a:ext>
                  </a:extLst>
                </a:gridCol>
                <a:gridCol w="796941">
                  <a:extLst>
                    <a:ext uri="{9D8B030D-6E8A-4147-A177-3AD203B41FA5}">
                      <a16:colId xmlns:a16="http://schemas.microsoft.com/office/drawing/2014/main" val="3104573215"/>
                    </a:ext>
                  </a:extLst>
                </a:gridCol>
                <a:gridCol w="680057">
                  <a:extLst>
                    <a:ext uri="{9D8B030D-6E8A-4147-A177-3AD203B41FA5}">
                      <a16:colId xmlns:a16="http://schemas.microsoft.com/office/drawing/2014/main" val="454674725"/>
                    </a:ext>
                  </a:extLst>
                </a:gridCol>
              </a:tblGrid>
              <a:tr h="19927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ources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otal Contacts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Engagemen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ontacts %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Indirect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irect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8367811"/>
                  </a:ext>
                </a:extLst>
              </a:tr>
              <a:tr h="145147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</a:rPr>
                        <a:t>Windows Registratio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ourier New" panose="02070309020205020404" pitchFamily="49" charset="0"/>
                      </a:endParaRP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8377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</a:rPr>
                        <a:t>32%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81841385"/>
                  </a:ext>
                </a:extLst>
              </a:tr>
              <a:tr h="14514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um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</a:rPr>
                        <a:t>10%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4156872"/>
                  </a:ext>
                </a:extLst>
              </a:tr>
              <a:tr h="14514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w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</a:rPr>
                        <a:t>58%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9871480"/>
                  </a:ext>
                </a:extLst>
              </a:tr>
              <a:tr h="145147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</a:rPr>
                        <a:t>SAP Shipment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ourier New" panose="02070309020205020404" pitchFamily="49" charset="0"/>
                      </a:endParaRP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974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</a:rPr>
                        <a:t>38%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7565063"/>
                  </a:ext>
                </a:extLst>
              </a:tr>
              <a:tr h="14514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um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</a:rPr>
                        <a:t>14%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7309001"/>
                  </a:ext>
                </a:extLst>
              </a:tr>
              <a:tr h="14514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w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</a:rPr>
                        <a:t>48%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9454919"/>
                  </a:ext>
                </a:extLst>
              </a:tr>
              <a:tr h="145147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</a:rPr>
                        <a:t>Hybris Registratio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ourier New" panose="02070309020205020404" pitchFamily="49" charset="0"/>
                      </a:endParaRP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098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</a:rPr>
                        <a:t>47%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3166004"/>
                  </a:ext>
                </a:extLst>
              </a:tr>
              <a:tr h="14514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um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</a:rPr>
                        <a:t>20%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9844244"/>
                  </a:ext>
                </a:extLst>
              </a:tr>
              <a:tr h="14514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w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</a:rPr>
                        <a:t>33%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7322304"/>
                  </a:ext>
                </a:extLst>
              </a:tr>
              <a:tr h="145147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</a:rPr>
                        <a:t>Comaps Registratio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ourier New" panose="02070309020205020404" pitchFamily="49" charset="0"/>
                      </a:endParaRP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57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</a:rPr>
                        <a:t>46%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8286290"/>
                  </a:ext>
                </a:extLst>
              </a:tr>
              <a:tr h="14514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um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</a:rPr>
                        <a:t>21%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9962579"/>
                  </a:ext>
                </a:extLst>
              </a:tr>
              <a:tr h="14514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w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</a:rPr>
                        <a:t>33%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5089556"/>
                  </a:ext>
                </a:extLst>
              </a:tr>
              <a:tr h="145147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</a:rPr>
                        <a:t>Adobe Target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ourier New" panose="02070309020205020404" pitchFamily="49" charset="0"/>
                      </a:endParaRP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51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</a:rPr>
                        <a:t>59%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7875428"/>
                  </a:ext>
                </a:extLst>
              </a:tr>
              <a:tr h="14514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um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</a:rPr>
                        <a:t>29%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6896230"/>
                  </a:ext>
                </a:extLst>
              </a:tr>
              <a:tr h="14514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w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</a:rPr>
                        <a:t>11%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09158591"/>
                  </a:ext>
                </a:extLst>
              </a:tr>
              <a:tr h="145147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</a:rPr>
                        <a:t>Hybris Order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ourier New" panose="02070309020205020404" pitchFamily="49" charset="0"/>
                      </a:endParaRP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30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</a:rPr>
                        <a:t>45%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2553553"/>
                  </a:ext>
                </a:extLst>
              </a:tr>
              <a:tr h="14514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um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</a:rPr>
                        <a:t>14%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6434998"/>
                  </a:ext>
                </a:extLst>
              </a:tr>
              <a:tr h="14514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w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</a:rPr>
                        <a:t>42%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8950304"/>
                  </a:ext>
                </a:extLst>
              </a:tr>
              <a:tr h="145147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</a:rPr>
                        <a:t>Android Registratio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ourier New" panose="02070309020205020404" pitchFamily="49" charset="0"/>
                      </a:endParaRP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35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</a:rPr>
                        <a:t>15%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9706244"/>
                  </a:ext>
                </a:extLst>
              </a:tr>
              <a:tr h="14514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um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</a:rPr>
                        <a:t>10%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93857104"/>
                  </a:ext>
                </a:extLst>
              </a:tr>
              <a:tr h="14514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w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</a:rPr>
                        <a:t>75%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82162150"/>
                  </a:ext>
                </a:extLst>
              </a:tr>
              <a:tr h="145147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</a:rPr>
                        <a:t>Netmining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ourier New" panose="02070309020205020404" pitchFamily="49" charset="0"/>
                      </a:endParaRP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44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</a:rPr>
                        <a:t>55%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25913"/>
                  </a:ext>
                </a:extLst>
              </a:tr>
              <a:tr h="14514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um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</a:rPr>
                        <a:t>33%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024398"/>
                  </a:ext>
                </a:extLst>
              </a:tr>
              <a:tr h="14514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w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</a:rPr>
                        <a:t>13%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3632985"/>
                  </a:ext>
                </a:extLst>
              </a:tr>
              <a:tr h="145147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</a:rPr>
                        <a:t>Crowds Loyalty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ourier New" panose="02070309020205020404" pitchFamily="49" charset="0"/>
                      </a:endParaRP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06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</a:rPr>
                        <a:t>52%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0618553"/>
                  </a:ext>
                </a:extLst>
              </a:tr>
              <a:tr h="14514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um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</a:rPr>
                        <a:t>21%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9012100"/>
                  </a:ext>
                </a:extLst>
              </a:tr>
              <a:tr h="14514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w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</a:rPr>
                        <a:t>27%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8124480"/>
                  </a:ext>
                </a:extLst>
              </a:tr>
              <a:tr h="145147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</a:rPr>
                        <a:t>Lenovo.com Email Signup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ourier New" panose="02070309020205020404" pitchFamily="49" charset="0"/>
                      </a:endParaRP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16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</a:rPr>
                        <a:t>65%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5689974"/>
                  </a:ext>
                </a:extLst>
              </a:tr>
              <a:tr h="14514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um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</a:rPr>
                        <a:t>26%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59364416"/>
                  </a:ext>
                </a:extLst>
              </a:tr>
              <a:tr h="14514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w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urier New" panose="02070309020205020404" pitchFamily="49" charset="0"/>
                        </a:rPr>
                        <a:t>9%</a:t>
                      </a:r>
                    </a:p>
                  </a:txBody>
                  <a:tcPr marL="6684" marR="6684" marT="66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%</a:t>
                      </a:r>
                    </a:p>
                  </a:txBody>
                  <a:tcPr marL="6684" marR="6684" marT="668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5463955"/>
                  </a:ext>
                </a:extLst>
              </a:tr>
            </a:tbl>
          </a:graphicData>
        </a:graphic>
      </p:graphicFrame>
      <p:sp>
        <p:nvSpPr>
          <p:cNvPr id="43" name="TextBox 42"/>
          <p:cNvSpPr txBox="1"/>
          <p:nvPr/>
        </p:nvSpPr>
        <p:spPr>
          <a:xfrm>
            <a:off x="2027382" y="2849418"/>
            <a:ext cx="2401455" cy="923330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+mj-lt"/>
              </a:rPr>
              <a:t>Sample – Customize for CIAM </a:t>
            </a:r>
            <a:r>
              <a:rPr lang="en-US" dirty="0" smtClean="0">
                <a:latin typeface="+mj-lt"/>
              </a:rPr>
              <a:t>Data</a:t>
            </a:r>
          </a:p>
          <a:p>
            <a:pPr algn="ctr"/>
            <a:endParaRPr lang="en-US" dirty="0" smtClean="0">
              <a:latin typeface="+mj-lt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8294254" y="1906329"/>
            <a:ext cx="3403969" cy="1077218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Observations Questions &amp; Data Challenges</a:t>
            </a:r>
          </a:p>
          <a:p>
            <a:pPr marL="742939" lvl="1" indent="-285750">
              <a:buFont typeface="Wingdings" panose="05000000000000000000" pitchFamily="2" charset="2"/>
              <a:buChar char="q"/>
            </a:pPr>
            <a:r>
              <a:rPr lang="en-US" sz="1200" dirty="0" smtClean="0"/>
              <a:t>XYZ</a:t>
            </a:r>
          </a:p>
          <a:p>
            <a:pPr marL="742939" lvl="1" indent="-285750">
              <a:buFont typeface="Wingdings" panose="05000000000000000000" pitchFamily="2" charset="2"/>
              <a:buChar char="q"/>
            </a:pPr>
            <a:r>
              <a:rPr lang="en-US" sz="1200" dirty="0" smtClean="0"/>
              <a:t>ABC</a:t>
            </a:r>
          </a:p>
          <a:p>
            <a:pPr marL="742939" lvl="1" indent="-285750">
              <a:buFont typeface="Wingdings" panose="05000000000000000000" pitchFamily="2" charset="2"/>
              <a:buChar char="q"/>
            </a:pPr>
            <a:r>
              <a:rPr lang="en-US" sz="1200" dirty="0" smtClean="0"/>
              <a:t>Etc. </a:t>
            </a:r>
            <a:endParaRPr lang="en-US" sz="1100" dirty="0" smtClean="0"/>
          </a:p>
        </p:txBody>
      </p:sp>
    </p:spTree>
    <p:extLst>
      <p:ext uri="{BB962C8B-B14F-4D97-AF65-F5344CB8AC3E}">
        <p14:creationId xmlns:p14="http://schemas.microsoft.com/office/powerpoint/2010/main" val="3247228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3B3D9-5974-6DF1-41E8-FE8BB3E28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7"/>
            <a:ext cx="11204448" cy="814225"/>
          </a:xfrm>
        </p:spPr>
        <p:txBody>
          <a:bodyPr/>
          <a:lstStyle/>
          <a:p>
            <a:r>
              <a:rPr lang="en-US" dirty="0"/>
              <a:t>Ongoing Data/Business Logic Validation – Summary &amp; Risk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F66A7C-FACA-CDF4-CE52-E253CDBB6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828501-58BA-692E-22E4-583AADE806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Rectangle 14"/>
          <p:cNvSpPr/>
          <p:nvPr/>
        </p:nvSpPr>
        <p:spPr bwMode="auto">
          <a:xfrm>
            <a:off x="489727" y="957284"/>
            <a:ext cx="11028018" cy="800839"/>
          </a:xfrm>
          <a:prstGeom prst="rect">
            <a:avLst/>
          </a:prstGeom>
          <a:noFill/>
          <a:ln>
            <a:noFill/>
          </a:ln>
        </p:spPr>
        <p:txBody>
          <a:bodyPr vert="horz" wrap="square" lIns="42863" tIns="21431" rIns="42863" bIns="21431" numCol="1" rtlCol="0" anchor="ctr" anchorCtr="0" compatLnSpc="1">
            <a:prstTxWarp prst="textNoShape">
              <a:avLst/>
            </a:prstTxWarp>
          </a:bodyPr>
          <a:lstStyle/>
          <a:p>
            <a:pPr marL="285750" lvl="0" indent="-285750" defTabSz="457189">
              <a:buFont typeface="Wingdings" panose="05000000000000000000" pitchFamily="2" charset="2"/>
              <a:buChar char="q"/>
              <a:defRPr/>
            </a:pP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  <a:latin typeface="Calibri" panose="020F0502020204030204"/>
              </a:rPr>
              <a:t>The Data Engg and BI Teams </a:t>
            </a:r>
            <a:r>
              <a:rPr lang="en-US" sz="1400" b="1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/>
              </a:rPr>
              <a:t>is </a:t>
            </a: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  <a:latin typeface="Calibri" panose="020F0502020204030204"/>
              </a:rPr>
              <a:t>consistently </a:t>
            </a:r>
            <a:r>
              <a:rPr lang="en-US" sz="1400" b="1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/>
              </a:rPr>
              <a:t>working with support from the </a:t>
            </a: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  <a:latin typeface="Calibri" panose="020F0502020204030204"/>
              </a:rPr>
              <a:t>Cox Teams to continuously </a:t>
            </a:r>
            <a:r>
              <a:rPr lang="en-US" sz="1400" b="1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/>
              </a:rPr>
              <a:t>enhance </a:t>
            </a: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  <a:latin typeface="Calibri" panose="020F0502020204030204"/>
              </a:rPr>
              <a:t>the KPIs and </a:t>
            </a:r>
            <a:r>
              <a:rPr lang="en-US" sz="1400" b="1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/>
              </a:rPr>
              <a:t>the associated data inconsistencies or business logic which is consuming additional </a:t>
            </a: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</a:rPr>
              <a:t>time/efforts </a:t>
            </a:r>
            <a:r>
              <a:rPr lang="en-US" sz="1400" b="1" dirty="0" smtClean="0">
                <a:solidFill>
                  <a:schemeClr val="accent1">
                    <a:lumMod val="50000"/>
                  </a:schemeClr>
                </a:solidFill>
              </a:rPr>
              <a:t> for the </a:t>
            </a:r>
            <a:r>
              <a:rPr lang="en-US" sz="1400" b="1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/>
              </a:rPr>
              <a:t>data models and one such recent example is below </a:t>
            </a:r>
            <a:endParaRPr lang="en-IN" sz="1400" b="1" dirty="0">
              <a:solidFill>
                <a:schemeClr val="accent1">
                  <a:lumMod val="50000"/>
                </a:schemeClr>
              </a:solidFill>
              <a:latin typeface="Calibri" panose="020F0502020204030204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858735"/>
              </p:ext>
            </p:extLst>
          </p:nvPr>
        </p:nvGraphicFramePr>
        <p:xfrm>
          <a:off x="638964" y="1767152"/>
          <a:ext cx="10878780" cy="23383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44381">
                  <a:extLst>
                    <a:ext uri="{9D8B030D-6E8A-4147-A177-3AD203B41FA5}">
                      <a16:colId xmlns:a16="http://schemas.microsoft.com/office/drawing/2014/main" val="2168806610"/>
                    </a:ext>
                  </a:extLst>
                </a:gridCol>
                <a:gridCol w="1542473">
                  <a:extLst>
                    <a:ext uri="{9D8B030D-6E8A-4147-A177-3AD203B41FA5}">
                      <a16:colId xmlns:a16="http://schemas.microsoft.com/office/drawing/2014/main" val="1065318268"/>
                    </a:ext>
                  </a:extLst>
                </a:gridCol>
                <a:gridCol w="1552536">
                  <a:extLst>
                    <a:ext uri="{9D8B030D-6E8A-4147-A177-3AD203B41FA5}">
                      <a16:colId xmlns:a16="http://schemas.microsoft.com/office/drawing/2014/main" val="3108697143"/>
                    </a:ext>
                  </a:extLst>
                </a:gridCol>
                <a:gridCol w="1754082">
                  <a:extLst>
                    <a:ext uri="{9D8B030D-6E8A-4147-A177-3AD203B41FA5}">
                      <a16:colId xmlns:a16="http://schemas.microsoft.com/office/drawing/2014/main" val="2623208591"/>
                    </a:ext>
                  </a:extLst>
                </a:gridCol>
                <a:gridCol w="1801091">
                  <a:extLst>
                    <a:ext uri="{9D8B030D-6E8A-4147-A177-3AD203B41FA5}">
                      <a16:colId xmlns:a16="http://schemas.microsoft.com/office/drawing/2014/main" val="3520955976"/>
                    </a:ext>
                  </a:extLst>
                </a:gridCol>
                <a:gridCol w="1884217">
                  <a:extLst>
                    <a:ext uri="{9D8B030D-6E8A-4147-A177-3AD203B41FA5}">
                      <a16:colId xmlns:a16="http://schemas.microsoft.com/office/drawing/2014/main" val="693736750"/>
                    </a:ext>
                  </a:extLst>
                </a:gridCol>
              </a:tblGrid>
              <a:tr h="625066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n-lt"/>
                        </a:rPr>
                        <a:t>Ongoing Activities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n-lt"/>
                        </a:rPr>
                        <a:t>Account Fact Table 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n-lt"/>
                        </a:rPr>
                        <a:t>Profile Fact Table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n-lt"/>
                        </a:rPr>
                        <a:t>Transaction Adobe Fact Table 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n-lt"/>
                        </a:rPr>
                        <a:t>Transaction </a:t>
                      </a:r>
                      <a:r>
                        <a:rPr lang="en-US" sz="1400" dirty="0" err="1" smtClean="0">
                          <a:latin typeface="+mn-lt"/>
                        </a:rPr>
                        <a:t>Octa</a:t>
                      </a:r>
                      <a:r>
                        <a:rPr lang="en-US" sz="1400" dirty="0" smtClean="0">
                          <a:latin typeface="+mn-lt"/>
                        </a:rPr>
                        <a:t> Fact Table (User Level)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latin typeface="+mn-lt"/>
                        </a:rPr>
                        <a:t>Transaction </a:t>
                      </a:r>
                      <a:r>
                        <a:rPr lang="en-US" sz="1400" dirty="0" err="1" smtClean="0">
                          <a:latin typeface="+mn-lt"/>
                        </a:rPr>
                        <a:t>Octa</a:t>
                      </a:r>
                      <a:r>
                        <a:rPr lang="en-US" sz="1400" dirty="0" smtClean="0">
                          <a:latin typeface="+mn-lt"/>
                        </a:rPr>
                        <a:t> Fact Table (Day Level)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0685514"/>
                  </a:ext>
                </a:extLst>
              </a:tr>
              <a:tr h="559488"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latin typeface="+mn-lt"/>
                        </a:rPr>
                        <a:t>Fetched</a:t>
                      </a:r>
                      <a:r>
                        <a:rPr lang="en-US" sz="1600" b="0" baseline="0" dirty="0" smtClean="0">
                          <a:latin typeface="+mn-lt"/>
                        </a:rPr>
                        <a:t> Records</a:t>
                      </a:r>
                      <a:endParaRPr lang="en-US" sz="1600" b="0" dirty="0">
                        <a:latin typeface="+mn-lt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latin typeface="+mn-lt"/>
                        </a:rPr>
                        <a:t>184,286</a:t>
                      </a:r>
                      <a:endParaRPr lang="en-US" sz="1600" b="0" dirty="0">
                        <a:latin typeface="+mn-lt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35,594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61,144</a:t>
                      </a:r>
                      <a:endParaRPr lang="en-US" sz="1600" b="0" dirty="0">
                        <a:latin typeface="+mn-lt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27,873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,540,022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2719876"/>
                  </a:ext>
                </a:extLst>
              </a:tr>
              <a:tr h="574706"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latin typeface="+mn-lt"/>
                        </a:rPr>
                        <a:t>Business Logic Validation</a:t>
                      </a:r>
                      <a:endParaRPr lang="en-US" sz="16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latin typeface="+mn-lt"/>
                        </a:rPr>
                        <a:t>Ongoing</a:t>
                      </a:r>
                      <a:endParaRPr lang="en-US" sz="16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latin typeface="+mn-lt"/>
                        </a:rPr>
                        <a:t>Ongoing</a:t>
                      </a:r>
                      <a:endParaRPr lang="en-US" sz="16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latin typeface="+mn-lt"/>
                        </a:rPr>
                        <a:t>Ongoing</a:t>
                      </a:r>
                      <a:endParaRPr lang="en-US" sz="16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latin typeface="+mn-lt"/>
                        </a:rPr>
                        <a:t>Ongoing</a:t>
                      </a:r>
                      <a:endParaRPr lang="en-US" sz="16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latin typeface="+mn-lt"/>
                        </a:rPr>
                        <a:t>Ongoing</a:t>
                      </a:r>
                      <a:endParaRPr lang="en-US" sz="1600" b="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88882338"/>
                  </a:ext>
                </a:extLst>
              </a:tr>
              <a:tr h="574706"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latin typeface="+mn-lt"/>
                        </a:rPr>
                        <a:t>Handling Data</a:t>
                      </a:r>
                      <a:r>
                        <a:rPr lang="en-US" sz="1600" b="0" baseline="0" dirty="0" smtClean="0">
                          <a:latin typeface="+mn-lt"/>
                        </a:rPr>
                        <a:t> Inconsistencies</a:t>
                      </a:r>
                      <a:endParaRPr lang="en-US" sz="16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latin typeface="+mn-lt"/>
                        </a:rPr>
                        <a:t>Ongoing</a:t>
                      </a:r>
                      <a:endParaRPr lang="en-US" sz="16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latin typeface="+mn-lt"/>
                        </a:rPr>
                        <a:t>Ongoing</a:t>
                      </a:r>
                      <a:endParaRPr lang="en-US" sz="16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latin typeface="+mn-lt"/>
                        </a:rPr>
                        <a:t>Ongoing</a:t>
                      </a:r>
                      <a:endParaRPr lang="en-US" sz="16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latin typeface="+mn-lt"/>
                        </a:rPr>
                        <a:t>Ongoing</a:t>
                      </a:r>
                      <a:endParaRPr lang="en-US" sz="16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latin typeface="+mn-lt"/>
                        </a:rPr>
                        <a:t>Ongoing</a:t>
                      </a:r>
                      <a:endParaRPr lang="en-US" sz="1600" b="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11878629"/>
                  </a:ext>
                </a:extLst>
              </a:tr>
            </a:tbl>
          </a:graphicData>
        </a:graphic>
      </p:graphicFrame>
      <p:sp>
        <p:nvSpPr>
          <p:cNvPr id="8" name="Rectangle 7"/>
          <p:cNvSpPr/>
          <p:nvPr/>
        </p:nvSpPr>
        <p:spPr>
          <a:xfrm>
            <a:off x="638964" y="4289513"/>
            <a:ext cx="495827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Data </a:t>
            </a:r>
            <a:r>
              <a:rPr lang="en-US" sz="1600" dirty="0" smtClean="0">
                <a:solidFill>
                  <a:schemeClr val="accent1">
                    <a:lumMod val="50000"/>
                  </a:schemeClr>
                </a:solidFill>
              </a:rPr>
              <a:t>Inconsistencies &amp; Validation Examples</a:t>
            </a:r>
            <a:endParaRPr lang="en-US" sz="16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9" name="Text Placeholder 2"/>
          <p:cNvSpPr txBox="1">
            <a:spLocks/>
          </p:cNvSpPr>
          <p:nvPr/>
        </p:nvSpPr>
        <p:spPr>
          <a:xfrm>
            <a:off x="638965" y="4753306"/>
            <a:ext cx="10878780" cy="1610549"/>
          </a:xfrm>
          <a:prstGeom prst="rect">
            <a:avLst/>
          </a:prstGeom>
        </p:spPr>
        <p:txBody>
          <a:bodyPr/>
          <a:lstStyle>
            <a:lvl1pPr marL="0" indent="0" algn="l" defTabSz="914377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​"/>
              <a:defRPr lang="en-US" sz="2000" b="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 Light" panose="020F0302020204030204" pitchFamily="34" charset="0"/>
                <a:sym typeface="Proxima Nova" charset="0"/>
              </a:defRPr>
            </a:lvl1pPr>
            <a:lvl2pPr marL="228594" indent="-228594" algn="l" defTabSz="914377" rtl="0" eaLnBrk="0" fontAlgn="base" hangingPunct="0">
              <a:lnSpc>
                <a:spcPct val="90000"/>
              </a:lnSpc>
              <a:spcBef>
                <a:spcPts val="667"/>
              </a:spcBef>
              <a:spcAft>
                <a:spcPts val="267"/>
              </a:spcAft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Proxima Nova" charset="0"/>
              </a:defRPr>
            </a:lvl2pPr>
            <a:lvl3pPr marL="455613" indent="-225425" algn="l" defTabSz="914377" rtl="0" eaLnBrk="0" fontAlgn="base" hangingPunct="0">
              <a:lnSpc>
                <a:spcPct val="85000"/>
              </a:lnSpc>
              <a:spcBef>
                <a:spcPts val="400"/>
              </a:spcBef>
              <a:spcAft>
                <a:spcPts val="267"/>
              </a:spcAft>
              <a:buClr>
                <a:schemeClr val="tx1">
                  <a:lumMod val="65000"/>
                  <a:lumOff val="35000"/>
                </a:schemeClr>
              </a:buClr>
              <a:buSzPct val="70000"/>
              <a:buFont typeface="Arial" panose="020B0604020202020204" pitchFamily="34" charset="0"/>
              <a:buChar char="̵"/>
              <a:defRPr sz="14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Proxima Nova" charset="0"/>
              </a:defRPr>
            </a:lvl3pPr>
            <a:lvl4pPr marL="0" indent="0" algn="l" defTabSz="914377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5000"/>
                  <a:lumOff val="35000"/>
                </a:schemeClr>
              </a:buClr>
              <a:buSzPct val="80000"/>
              <a:buFont typeface="Segoe UI" panose="020B0502040204020203" pitchFamily="34" charset="0"/>
              <a:buChar char="​"/>
              <a:defRPr sz="2400" b="1" i="0" kern="120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Proxima Nova" charset="0"/>
              </a:defRPr>
            </a:lvl4pPr>
            <a:lvl5pPr marL="0" indent="0" algn="l" defTabSz="914377" rtl="0" eaLnBrk="0" fontAlgn="base" hangingPunct="0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SzPct val="80000"/>
              <a:buFont typeface="Segoe UI" panose="020B0502040204020203" pitchFamily="34" charset="0"/>
              <a:buChar char="​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Proxima Nova" charset="0"/>
              </a:defRPr>
            </a:lvl5pPr>
            <a:lvl6pPr marL="0" indent="0" algn="l" defTabSz="457189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2000" b="0" kern="1200" cap="none" spc="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" panose="020F0502020204030204" pitchFamily="34" charset="0"/>
              </a:defRPr>
            </a:lvl6pPr>
            <a:lvl7pPr marL="0" indent="0" algn="l" defTabSz="457189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2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7pPr>
            <a:lvl8pPr marL="0" indent="0" algn="l" defTabSz="457189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2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8pPr>
            <a:lvl9pPr marL="0" indent="0" algn="l" defTabSz="457189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2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 smtClean="0">
                <a:latin typeface="+mn-lt"/>
              </a:rPr>
              <a:t>For some customers we are getting multiple registration dates which should be not the case so we resolved using the earliest registration dat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>
                <a:latin typeface="+mn-lt"/>
              </a:rPr>
              <a:t>In profile_fact tables we have data inconsistency on primary_user_flag. Logically, we should have one customer has only one primary_flag</a:t>
            </a:r>
            <a:r>
              <a:rPr lang="en-US" sz="1400" dirty="0">
                <a:latin typeface="+mn-lt"/>
              </a:rPr>
              <a:t>=“Y” but we are getting two primary flag as </a:t>
            </a:r>
            <a:r>
              <a:rPr lang="en-US" sz="1400" dirty="0" smtClean="0">
                <a:latin typeface="+mn-lt"/>
              </a:rPr>
              <a:t>Y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 smtClean="0">
                <a:latin typeface="+mn-lt"/>
              </a:rPr>
              <a:t>For some tables, the columns/attributes are missing for the calculated columns and the  business logic for the same needs to be validated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>
                <a:latin typeface="+mn-lt"/>
              </a:rPr>
              <a:t>Changes</a:t>
            </a:r>
            <a:r>
              <a:rPr lang="en-US" sz="1400" dirty="0"/>
              <a:t> </a:t>
            </a:r>
            <a:r>
              <a:rPr lang="en-US" sz="1400" dirty="0">
                <a:latin typeface="+mn-lt"/>
              </a:rPr>
              <a:t>to the business logic as above leads to rework from the team for data retrieval, validation and </a:t>
            </a:r>
            <a:r>
              <a:rPr lang="en-US" sz="1400" dirty="0">
                <a:latin typeface="+mn-lt"/>
              </a:rPr>
              <a:t>alignment </a:t>
            </a:r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40419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3B3D9-5974-6DF1-41E8-FE8BB3E28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7"/>
            <a:ext cx="11204448" cy="814225"/>
          </a:xfrm>
        </p:spPr>
        <p:txBody>
          <a:bodyPr/>
          <a:lstStyle/>
          <a:p>
            <a:r>
              <a:rPr lang="en-US" dirty="0" smtClean="0"/>
              <a:t>Ongoing Data/Business Logic – Observations &amp; Challenges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F66A7C-FACA-CDF4-CE52-E253CDBB6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828501-58BA-692E-22E4-583AADE806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572654" y="1764145"/>
            <a:ext cx="10945091" cy="4419261"/>
            <a:chOff x="493774" y="1314205"/>
            <a:chExt cx="10666244" cy="4869201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216256" y="3764259"/>
              <a:ext cx="4943762" cy="2419147"/>
            </a:xfrm>
            <a:prstGeom prst="rect">
              <a:avLst/>
            </a:prstGeom>
          </p:spPr>
        </p:pic>
        <p:sp>
          <p:nvSpPr>
            <p:cNvPr id="10" name="Text Placeholder 2"/>
            <p:cNvSpPr txBox="1">
              <a:spLocks/>
            </p:cNvSpPr>
            <p:nvPr/>
          </p:nvSpPr>
          <p:spPr>
            <a:xfrm>
              <a:off x="493774" y="1314205"/>
              <a:ext cx="5546599" cy="4862566"/>
            </a:xfrm>
            <a:prstGeom prst="rect">
              <a:avLst/>
            </a:prstGeom>
          </p:spPr>
          <p:txBody>
            <a:bodyPr/>
            <a:lstStyle>
              <a:lvl1pPr marL="0" indent="0" algn="l" defTabSz="914377" rtl="0" eaLnBrk="0" fontAlgn="base" hangingPunct="0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​"/>
                <a:defRPr lang="en-US" sz="2000" b="0" kern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ea typeface="+mn-ea"/>
                  <a:cs typeface="Calibri Light" panose="020F0302020204030204" pitchFamily="34" charset="0"/>
                  <a:sym typeface="Proxima Nova" charset="0"/>
                </a:defRPr>
              </a:lvl1pPr>
              <a:lvl2pPr marL="228594" indent="-228594" algn="l" defTabSz="914377" rtl="0" eaLnBrk="0" fontAlgn="base" hangingPunct="0">
                <a:lnSpc>
                  <a:spcPct val="90000"/>
                </a:lnSpc>
                <a:spcBef>
                  <a:spcPts val="667"/>
                </a:spcBef>
                <a:spcAft>
                  <a:spcPts val="267"/>
                </a:spcAft>
                <a:buSzPct val="100000"/>
                <a:buFont typeface="Arial" panose="020B0604020202020204" pitchFamily="34" charset="0"/>
                <a:buChar char="•"/>
                <a:defRPr sz="1600" b="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Proxima Nova" charset="0"/>
                </a:defRPr>
              </a:lvl2pPr>
              <a:lvl3pPr marL="455613" indent="-225425" algn="l" defTabSz="914377" rtl="0" eaLnBrk="0" fontAlgn="base" hangingPunct="0">
                <a:lnSpc>
                  <a:spcPct val="85000"/>
                </a:lnSpc>
                <a:spcBef>
                  <a:spcPts val="400"/>
                </a:spcBef>
                <a:spcAft>
                  <a:spcPts val="267"/>
                </a:spcAft>
                <a:buClr>
                  <a:schemeClr val="tx1">
                    <a:lumMod val="65000"/>
                    <a:lumOff val="35000"/>
                  </a:schemeClr>
                </a:buClr>
                <a:buSzPct val="70000"/>
                <a:buFont typeface="Arial" panose="020B0604020202020204" pitchFamily="34" charset="0"/>
                <a:buChar char="̵"/>
                <a:defRPr sz="1400" b="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Proxima Nova" charset="0"/>
                </a:defRPr>
              </a:lvl3pPr>
              <a:lvl4pPr marL="0" indent="0" algn="l" defTabSz="914377" rtl="0" eaLnBrk="0" fontAlgn="base" hangingPunct="0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>
                  <a:schemeClr val="tx1">
                    <a:lumMod val="65000"/>
                    <a:lumOff val="35000"/>
                  </a:schemeClr>
                </a:buClr>
                <a:buSzPct val="80000"/>
                <a:buFont typeface="Segoe UI" panose="020B0502040204020203" pitchFamily="34" charset="0"/>
                <a:buChar char="​"/>
                <a:defRPr sz="2400" b="1" i="0" kern="1200">
                  <a:solidFill>
                    <a:schemeClr val="accent1"/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Proxima Nova" charset="0"/>
                </a:defRPr>
              </a:lvl4pPr>
              <a:lvl5pPr marL="0" indent="0" algn="l" defTabSz="914377" rtl="0" eaLnBrk="0" fontAlgn="base" hangingPunct="0">
                <a:lnSpc>
                  <a:spcPct val="85000"/>
                </a:lnSpc>
                <a:spcBef>
                  <a:spcPts val="1200"/>
                </a:spcBef>
                <a:spcAft>
                  <a:spcPts val="0"/>
                </a:spcAft>
                <a:buSzPct val="80000"/>
                <a:buFont typeface="Segoe UI" panose="020B0502040204020203" pitchFamily="34" charset="0"/>
                <a:buChar char="​"/>
                <a:defRPr sz="200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Proxima Nova" charset="0"/>
                </a:defRPr>
              </a:lvl5pPr>
              <a:lvl6pPr marL="0" indent="0" algn="l" defTabSz="457189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2000" b="0" kern="1200" cap="none" spc="0" baseline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Calibri" panose="020F0502020204030204" pitchFamily="34" charset="0"/>
                </a:defRPr>
              </a:lvl6pPr>
              <a:lvl7pPr marL="0" indent="0" algn="l" defTabSz="457189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2000" kern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</a:defRPr>
              </a:lvl7pPr>
              <a:lvl8pPr marL="0" indent="0" algn="l" defTabSz="457189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2000" kern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</a:defRPr>
              </a:lvl8pPr>
              <a:lvl9pPr marL="0" indent="0" algn="l" defTabSz="457189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2000" kern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</a:defRPr>
              </a:lvl9pPr>
            </a:lstStyle>
            <a:p>
              <a:r>
                <a:rPr lang="en-US" sz="1600" dirty="0" smtClean="0">
                  <a:latin typeface="+mn-lt"/>
                </a:rPr>
                <a:t>In </a:t>
              </a:r>
              <a:r>
                <a:rPr lang="en-US" sz="1600" dirty="0" err="1" smtClean="0">
                  <a:latin typeface="+mn-lt"/>
                </a:rPr>
                <a:t>profile_fact</a:t>
              </a:r>
              <a:r>
                <a:rPr lang="en-US" sz="1600" dirty="0" smtClean="0">
                  <a:latin typeface="+mn-lt"/>
                </a:rPr>
                <a:t> tables we have data inconsistency on </a:t>
              </a:r>
              <a:r>
                <a:rPr lang="en-US" sz="1600" dirty="0" err="1" smtClean="0">
                  <a:latin typeface="+mn-lt"/>
                </a:rPr>
                <a:t>primary_user_flag</a:t>
              </a:r>
              <a:r>
                <a:rPr lang="en-US" sz="1600" dirty="0" smtClean="0">
                  <a:latin typeface="+mn-lt"/>
                </a:rPr>
                <a:t>. Logically, we should have one customer has only one </a:t>
              </a:r>
              <a:r>
                <a:rPr lang="en-US" sz="1600" dirty="0" err="1" smtClean="0">
                  <a:latin typeface="+mn-lt"/>
                </a:rPr>
                <a:t>primary_flag</a:t>
              </a:r>
              <a:r>
                <a:rPr lang="en-US" sz="1600" dirty="0" smtClean="0">
                  <a:latin typeface="+mn-lt"/>
                </a:rPr>
                <a:t>=“Y” but we are getting two primary flag as Y </a:t>
              </a:r>
            </a:p>
            <a:p>
              <a:r>
                <a:rPr lang="en-US" sz="1600" dirty="0" smtClean="0">
                  <a:latin typeface="+mn-lt"/>
                </a:rPr>
                <a:t>Therefore, we are getting count as 251,204 in profile dim where customer who has more than one primary flag has 1,882 records</a:t>
              </a:r>
              <a:endParaRPr lang="en-US" sz="1600" dirty="0" smtClean="0">
                <a:solidFill>
                  <a:srgbClr val="687078"/>
                </a:solidFill>
                <a:latin typeface="+mn-lt"/>
              </a:endParaRPr>
            </a:p>
            <a:p>
              <a:r>
                <a:rPr lang="en-US" sz="1600" dirty="0" smtClean="0">
                  <a:latin typeface="+mn-lt"/>
                </a:rPr>
                <a:t>If we take only one </a:t>
              </a:r>
              <a:r>
                <a:rPr lang="en-US" sz="1600" dirty="0" err="1" smtClean="0">
                  <a:latin typeface="+mn-lt"/>
                </a:rPr>
                <a:t>primary_flag</a:t>
              </a:r>
              <a:r>
                <a:rPr lang="en-US" sz="1600" dirty="0" smtClean="0">
                  <a:latin typeface="+mn-lt"/>
                </a:rPr>
                <a:t>=y for one customer then we are getting 235594 records.</a:t>
              </a:r>
              <a:endParaRPr lang="en-US" sz="1600" dirty="0">
                <a:latin typeface="+mn-lt"/>
              </a:endParaRPr>
            </a:p>
          </p:txBody>
        </p:sp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216255" y="1314205"/>
              <a:ext cx="4943763" cy="2292945"/>
            </a:xfrm>
            <a:prstGeom prst="rect">
              <a:avLst/>
            </a:prstGeom>
          </p:spPr>
        </p:pic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09986" y="3749241"/>
              <a:ext cx="5255106" cy="2434165"/>
            </a:xfrm>
            <a:prstGeom prst="rect">
              <a:avLst/>
            </a:prstGeom>
          </p:spPr>
        </p:pic>
      </p:grpSp>
      <p:sp>
        <p:nvSpPr>
          <p:cNvPr id="15" name="Rectangle 14"/>
          <p:cNvSpPr/>
          <p:nvPr/>
        </p:nvSpPr>
        <p:spPr bwMode="auto">
          <a:xfrm>
            <a:off x="489727" y="957284"/>
            <a:ext cx="11028018" cy="800839"/>
          </a:xfrm>
          <a:prstGeom prst="rect">
            <a:avLst/>
          </a:prstGeom>
          <a:noFill/>
          <a:ln>
            <a:noFill/>
          </a:ln>
        </p:spPr>
        <p:txBody>
          <a:bodyPr vert="horz" wrap="square" lIns="42863" tIns="21431" rIns="42863" bIns="21431" numCol="1" rtlCol="0" anchor="ctr" anchorCtr="0" compatLnSpc="1">
            <a:prstTxWarp prst="textNoShape">
              <a:avLst/>
            </a:prstTxWarp>
          </a:bodyPr>
          <a:lstStyle/>
          <a:p>
            <a:pPr marL="285750" lvl="0" indent="-285750" defTabSz="457189">
              <a:buFont typeface="Wingdings" panose="05000000000000000000" pitchFamily="2" charset="2"/>
              <a:buChar char="q"/>
              <a:defRPr/>
            </a:pP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  <a:latin typeface="Calibri" panose="020F0502020204030204"/>
              </a:rPr>
              <a:t>The Data Engg and BI Teams </a:t>
            </a:r>
            <a:r>
              <a:rPr lang="en-US" sz="1400" b="1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/>
              </a:rPr>
              <a:t>is </a:t>
            </a: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  <a:latin typeface="Calibri" panose="020F0502020204030204"/>
              </a:rPr>
              <a:t>consistently </a:t>
            </a:r>
            <a:r>
              <a:rPr lang="en-US" sz="1400" b="1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/>
              </a:rPr>
              <a:t>working with support from the </a:t>
            </a: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  <a:latin typeface="Calibri" panose="020F0502020204030204"/>
              </a:rPr>
              <a:t>Cox Teams to continuously </a:t>
            </a:r>
            <a:r>
              <a:rPr lang="en-US" sz="1400" b="1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/>
              </a:rPr>
              <a:t>enhance </a:t>
            </a: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  <a:latin typeface="Calibri" panose="020F0502020204030204"/>
              </a:rPr>
              <a:t>the KPIs and </a:t>
            </a:r>
            <a:r>
              <a:rPr lang="en-US" sz="1400" b="1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/>
              </a:rPr>
              <a:t>the associated data inconsistencies or business logic which is consuming additional </a:t>
            </a: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</a:rPr>
              <a:t>time/efforts </a:t>
            </a:r>
            <a:r>
              <a:rPr lang="en-US" sz="1400" b="1" dirty="0" smtClean="0">
                <a:solidFill>
                  <a:schemeClr val="accent1">
                    <a:lumMod val="50000"/>
                  </a:schemeClr>
                </a:solidFill>
              </a:rPr>
              <a:t> for the </a:t>
            </a:r>
            <a:r>
              <a:rPr lang="en-US" sz="1400" b="1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/>
              </a:rPr>
              <a:t>data models and one such recent example is below </a:t>
            </a:r>
            <a:endParaRPr lang="en-IN" sz="1400" b="1" dirty="0">
              <a:solidFill>
                <a:schemeClr val="accent1">
                  <a:lumMod val="50000"/>
                </a:scheme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973159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3B3D9-5974-6DF1-41E8-FE8BB3E281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shboard Wireframe </a:t>
            </a:r>
            <a:r>
              <a:rPr lang="en-US" dirty="0" smtClean="0"/>
              <a:t>– </a:t>
            </a:r>
            <a:r>
              <a:rPr lang="en-US" dirty="0" smtClean="0"/>
              <a:t>Profile </a:t>
            </a:r>
            <a:r>
              <a:rPr lang="en-US" dirty="0" smtClean="0"/>
              <a:t>&amp; Activity View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F66A7C-FACA-CDF4-CE52-E253CDBB6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828501-58BA-692E-22E4-583AADE806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3142" y="1065648"/>
            <a:ext cx="8665716" cy="5085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84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cUEH2J4HibCRnIGpAbFA"/>
</p:tagLst>
</file>

<file path=ppt/theme/theme1.xml><?xml version="1.0" encoding="utf-8"?>
<a:theme xmlns:a="http://schemas.openxmlformats.org/drawingml/2006/main" name="Cox Communications 2019 Template (16x9)">
  <a:themeElements>
    <a:clrScheme name="Cox Communications 2019">
      <a:dk1>
        <a:srgbClr val="000000"/>
      </a:dk1>
      <a:lt1>
        <a:srgbClr val="FFFFFF"/>
      </a:lt1>
      <a:dk2>
        <a:srgbClr val="455051"/>
      </a:dk2>
      <a:lt2>
        <a:srgbClr val="B9C9D2"/>
      </a:lt2>
      <a:accent1>
        <a:srgbClr val="009AE0"/>
      </a:accent1>
      <a:accent2>
        <a:srgbClr val="285A93"/>
      </a:accent2>
      <a:accent3>
        <a:srgbClr val="00A846"/>
      </a:accent3>
      <a:accent4>
        <a:srgbClr val="127C65"/>
      </a:accent4>
      <a:accent5>
        <a:srgbClr val="028399"/>
      </a:accent5>
      <a:accent6>
        <a:srgbClr val="828E96"/>
      </a:accent6>
      <a:hlink>
        <a:srgbClr val="009AE0"/>
      </a:hlink>
      <a:folHlink>
        <a:srgbClr val="7D55A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chemeClr val="tx1">
                <a:lumMod val="65000"/>
                <a:lumOff val="35000"/>
              </a:schemeClr>
            </a:solidFill>
            <a:latin typeface="+mj-lt"/>
          </a:defRPr>
        </a:defPPr>
      </a:lstStyle>
    </a:txDef>
  </a:objectDefaults>
  <a:extraClrSchemeLst/>
  <a:custClrLst>
    <a:custClr name="COX Custom Orange">
      <a:srgbClr val="FC9318"/>
    </a:custClr>
    <a:custClr name="COX Custom Red">
      <a:srgbClr val="CD0000"/>
    </a:custClr>
    <a:custClr name="COX Custom Purple">
      <a:srgbClr val="7D55A0"/>
    </a:custClr>
  </a:custClrLst>
  <a:extLst>
    <a:ext uri="{05A4C25C-085E-4340-85A3-A5531E510DB2}">
      <thm15:themeFamily xmlns:thm15="http://schemas.microsoft.com/office/thememl/2012/main" name="Office Theme" id="{7C44F730-0DCC-4F6B-9774-F5D59B0B0284}" vid="{0757259E-854C-4462-8D68-7D72250E9CC8}"/>
    </a:ext>
  </a:extLst>
</a:theme>
</file>

<file path=ppt/theme/theme2.xml><?xml version="1.0" encoding="utf-8"?>
<a:theme xmlns:a="http://schemas.openxmlformats.org/drawingml/2006/main" name="2_Cox Communications 2019 Template (16x9)">
  <a:themeElements>
    <a:clrScheme name="Cox Communications 2019">
      <a:dk1>
        <a:srgbClr val="000000"/>
      </a:dk1>
      <a:lt1>
        <a:srgbClr val="FFFFFF"/>
      </a:lt1>
      <a:dk2>
        <a:srgbClr val="455051"/>
      </a:dk2>
      <a:lt2>
        <a:srgbClr val="B9C9D2"/>
      </a:lt2>
      <a:accent1>
        <a:srgbClr val="009AE0"/>
      </a:accent1>
      <a:accent2>
        <a:srgbClr val="285A93"/>
      </a:accent2>
      <a:accent3>
        <a:srgbClr val="00A846"/>
      </a:accent3>
      <a:accent4>
        <a:srgbClr val="127C65"/>
      </a:accent4>
      <a:accent5>
        <a:srgbClr val="028399"/>
      </a:accent5>
      <a:accent6>
        <a:srgbClr val="828E96"/>
      </a:accent6>
      <a:hlink>
        <a:srgbClr val="009AE0"/>
      </a:hlink>
      <a:folHlink>
        <a:srgbClr val="7D55A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chemeClr val="tx1">
                <a:lumMod val="65000"/>
                <a:lumOff val="35000"/>
              </a:schemeClr>
            </a:solidFill>
            <a:latin typeface="+mj-lt"/>
          </a:defRPr>
        </a:defPPr>
      </a:lstStyle>
    </a:txDef>
  </a:objectDefaults>
  <a:extraClrSchemeLst/>
  <a:custClrLst>
    <a:custClr name="COX Custom Orange">
      <a:srgbClr val="FC9318"/>
    </a:custClr>
    <a:custClr name="COX Custom Red">
      <a:srgbClr val="CD0000"/>
    </a:custClr>
    <a:custClr name="COX Custom Purple">
      <a:srgbClr val="7D55A0"/>
    </a:custClr>
  </a:custClrLst>
  <a:extLst>
    <a:ext uri="{05A4C25C-085E-4340-85A3-A5531E510DB2}">
      <thm15:themeFamily xmlns:thm15="http://schemas.microsoft.com/office/thememl/2012/main" name="Cox Template" id="{9D7ED8C9-5839-4D45-847A-830E5890C0E9}" vid="{462980A9-AAA7-F748-89EF-9F306C11259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8936E25A55AEF49B0C01BECA499E9BE" ma:contentTypeVersion="14" ma:contentTypeDescription="Create a new document." ma:contentTypeScope="" ma:versionID="0e113c88d36e04fafcd3eda7f8369de2">
  <xsd:schema xmlns:xsd="http://www.w3.org/2001/XMLSchema" xmlns:xs="http://www.w3.org/2001/XMLSchema" xmlns:p="http://schemas.microsoft.com/office/2006/metadata/properties" xmlns:ns1="http://schemas.microsoft.com/sharepoint/v3" xmlns:ns2="fcf4c635-b09a-4f47-933d-dd14d1cf7fb1" xmlns:ns3="10132858-e5c3-4739-bf1a-2d90cdf0e8b2" targetNamespace="http://schemas.microsoft.com/office/2006/metadata/properties" ma:root="true" ma:fieldsID="bd586832b931af1b8ecb4da45d1e5f7e" ns1:_="" ns2:_="" ns3:_="">
    <xsd:import namespace="http://schemas.microsoft.com/sharepoint/v3"/>
    <xsd:import namespace="fcf4c635-b09a-4f47-933d-dd14d1cf7fb1"/>
    <xsd:import namespace="10132858-e5c3-4739-bf1a-2d90cdf0e8b2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Document_x0020_Description" minOccurs="0"/>
                <xsd:element ref="ns1:_ip_UnifiedCompliancePolicyProperties" minOccurs="0"/>
                <xsd:element ref="ns1:_ip_UnifiedCompliancePolicyUIAction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3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4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f4c635-b09a-4f47-933d-dd14d1cf7fb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132858-e5c3-4739-bf1a-2d90cdf0e8b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Document_x0020_Description" ma:index="12" nillable="true" ma:displayName="Document Description" ma:default="" ma:description="describe document" ma:format="Dropdown" ma:internalName="Document_x0020_Description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_x0020_Description xmlns="10132858-e5c3-4739-bf1a-2d90cdf0e8b2" xsi:nil="true"/>
    <_ip_UnifiedCompliancePolicyUIAction xmlns="http://schemas.microsoft.com/sharepoint/v3" xsi:nil="true"/>
    <_ip_UnifiedCompliancePolicyProperties xmlns="http://schemas.microsoft.com/sharepoint/v3" xsi:nil="true"/>
    <SharedWithUsers xmlns="fcf4c635-b09a-4f47-933d-dd14d1cf7fb1">
      <UserInfo>
        <DisplayName>Haddad, Dana (CCI-Atlanta)</DisplayName>
        <AccountId>334</AccountId>
        <AccountType/>
      </UserInfo>
      <UserInfo>
        <DisplayName>Patel, Adarsh (CCI-Atlanta)</DisplayName>
        <AccountId>13</AccountId>
        <AccountType/>
      </UserInfo>
      <UserInfo>
        <DisplayName>Fakhraee, Farrah (CCI-Atlanta)</DisplayName>
        <AccountId>953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6B795C0-AACF-40B7-B58F-45ADE7DF583F}">
  <ds:schemaRefs>
    <ds:schemaRef ds:uri="10132858-e5c3-4739-bf1a-2d90cdf0e8b2"/>
    <ds:schemaRef ds:uri="fcf4c635-b09a-4f47-933d-dd14d1cf7fb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0/xmlns/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2BC13AF2-E39A-4FD2-B967-9FAE27A81BE6}">
  <ds:schemaRefs>
    <ds:schemaRef ds:uri="http://schemas.microsoft.com/office/infopath/2007/PartnerControls"/>
    <ds:schemaRef ds:uri="fcf4c635-b09a-4f47-933d-dd14d1cf7fb1"/>
    <ds:schemaRef ds:uri="http://schemas.microsoft.com/sharepoint/v3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purl.org/dc/elements/1.1/"/>
    <ds:schemaRef ds:uri="10132858-e5c3-4739-bf1a-2d90cdf0e8b2"/>
    <ds:schemaRef ds:uri="http://schemas.microsoft.com/office/2006/metadata/properties"/>
    <ds:schemaRef ds:uri="http://purl.org/dc/dcmitype/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9490CAD8-6F0C-42A0-89AB-C66F740BF3E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9023</TotalTime>
  <Words>1627</Words>
  <Application>Microsoft Office PowerPoint</Application>
  <PresentationFormat>Widescreen</PresentationFormat>
  <Paragraphs>588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5" baseType="lpstr">
      <vt:lpstr>Aptos Narrow</vt:lpstr>
      <vt:lpstr>Arial</vt:lpstr>
      <vt:lpstr>Calibri</vt:lpstr>
      <vt:lpstr>Calibri Light</vt:lpstr>
      <vt:lpstr>Courier New</vt:lpstr>
      <vt:lpstr>Proxima Nova</vt:lpstr>
      <vt:lpstr>Proxima Nova Black</vt:lpstr>
      <vt:lpstr>Proxima Nova Light</vt:lpstr>
      <vt:lpstr>Segoe UI</vt:lpstr>
      <vt:lpstr>Wingdings</vt:lpstr>
      <vt:lpstr>Cox Communications 2019 Template (16x9)</vt:lpstr>
      <vt:lpstr>2_Cox Communications 2019 Template (16x9)</vt:lpstr>
      <vt:lpstr>think-cell Slide</vt:lpstr>
      <vt:lpstr>CIAM Project Updates</vt:lpstr>
      <vt:lpstr>Agenda</vt:lpstr>
      <vt:lpstr>Project Status &amp; Milestones – Data Engineering Track</vt:lpstr>
      <vt:lpstr>Project Status &amp; Milestones – BI &amp; Reporting</vt:lpstr>
      <vt:lpstr>Current/Latest Progress Summary (Last 2 Weeks)</vt:lpstr>
      <vt:lpstr>Summary of the CIAM Data Points for BI</vt:lpstr>
      <vt:lpstr>Ongoing Data/Business Logic Validation – Summary &amp; Risks</vt:lpstr>
      <vt:lpstr>Ongoing Data/Business Logic – Observations &amp; Challenges</vt:lpstr>
      <vt:lpstr>Dashboard Wireframe – Profile &amp; Activity View</vt:lpstr>
      <vt:lpstr>Thank You</vt:lpstr>
      <vt:lpstr>Original Project Plan</vt:lpstr>
      <vt:lpstr>CIAM - Functions, Initiatives and Metrics Mapping (Original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mith, Lois (CCI-Atlanta)</dc:creator>
  <cp:lastModifiedBy>Harvinder Singh59</cp:lastModifiedBy>
  <cp:revision>170</cp:revision>
  <cp:lastPrinted>2023-03-15T15:20:58Z</cp:lastPrinted>
  <dcterms:created xsi:type="dcterms:W3CDTF">2016-12-14T14:35:04Z</dcterms:created>
  <dcterms:modified xsi:type="dcterms:W3CDTF">2024-09-30T13:35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8936E25A55AEF49B0C01BECA499E9BE</vt:lpwstr>
  </property>
</Properties>
</file>